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8" r:id="rId2"/>
    <p:sldMasterId id="2147483668" r:id="rId3"/>
  </p:sldMasterIdLst>
  <p:notesMasterIdLst>
    <p:notesMasterId r:id="rId19"/>
  </p:notesMasterIdLst>
  <p:sldIdLst>
    <p:sldId id="256" r:id="rId4"/>
    <p:sldId id="551" r:id="rId5"/>
    <p:sldId id="423" r:id="rId6"/>
    <p:sldId id="265" r:id="rId7"/>
    <p:sldId id="513" r:id="rId8"/>
    <p:sldId id="555" r:id="rId9"/>
    <p:sldId id="548" r:id="rId10"/>
    <p:sldId id="558" r:id="rId11"/>
    <p:sldId id="557" r:id="rId12"/>
    <p:sldId id="506" r:id="rId13"/>
    <p:sldId id="328" r:id="rId14"/>
    <p:sldId id="260" r:id="rId15"/>
    <p:sldId id="556" r:id="rId16"/>
    <p:sldId id="549" r:id="rId17"/>
    <p:sldId id="258" r:id="rId18"/>
  </p:sldIdLst>
  <p:sldSz cx="9144000" cy="5143500" type="screen16x9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929" autoAdjust="0"/>
    <p:restoredTop sz="88095" autoAdjust="0"/>
  </p:normalViewPr>
  <p:slideViewPr>
    <p:cSldViewPr>
      <p:cViewPr varScale="1">
        <p:scale>
          <a:sx n="124" d="100"/>
          <a:sy n="124" d="100"/>
        </p:scale>
        <p:origin x="744" y="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26D3D9-6CB6-47A3-95CC-D2B82ACD5CFA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6D5D1F-1F76-42BF-BCBD-B69D783FC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743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Font typeface="Wingdings" panose="05000000000000000000" pitchFamily="2" charset="2"/>
              <a:buNone/>
            </a:pPr>
            <a:endParaRPr lang="id-ID" sz="1200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6D5D1F-1F76-42BF-BCBD-B69D783FCCB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113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lvl1pPr>
              <a:defRPr b="0"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d-ID" dirty="0"/>
              <a:t>SUB JUDU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66664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7213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36555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07622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30936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2530624" cy="857250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0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343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54748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33868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7243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95697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597821"/>
            <a:ext cx="7772400" cy="1102519"/>
          </a:xfrm>
        </p:spPr>
        <p:txBody>
          <a:bodyPr/>
          <a:lstStyle>
            <a:lvl1pPr>
              <a:defRPr b="0"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d-ID" dirty="0"/>
              <a:t>SUB JUDU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3074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d-ID" dirty="0"/>
              <a:t>SUB JUDUL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66303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d-ID" dirty="0"/>
              <a:t>SUB JUDUL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66956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d-ID" dirty="0"/>
              <a:t>SUB JUDU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0549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d-ID" dirty="0"/>
              <a:t>SUB JUDUL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d-ID" dirty="0"/>
              <a:t>SUB JUDUL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80671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2530624" cy="857250"/>
          </a:xfrm>
        </p:spPr>
        <p:txBody>
          <a:bodyPr/>
          <a:lstStyle>
            <a:lvl1pPr>
              <a:defRPr b="0"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d-ID" dirty="0"/>
              <a:t>SUB JUDU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d-ID" dirty="0"/>
              <a:t>SUB JUDU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2046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50888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76366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5" y="204787"/>
            <a:ext cx="3008313" cy="87153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14630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d-ID" dirty="0"/>
              <a:t>KETERANG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6898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d-ID" dirty="0"/>
              <a:t>SUB JUDU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4494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d-ID" dirty="0"/>
              <a:t>SUB JUDUL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d-ID" dirty="0"/>
              <a:t>SUB JUDUL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9299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2530624" cy="857250"/>
          </a:xfrm>
        </p:spPr>
        <p:txBody>
          <a:bodyPr/>
          <a:lstStyle>
            <a:lvl1pPr>
              <a:defRPr b="0"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d-ID" dirty="0"/>
              <a:t>SUB JUDU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d-ID" dirty="0"/>
              <a:t>SUB JUDU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4388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696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7753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4787"/>
            <a:ext cx="3008313" cy="87153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6867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d-ID" dirty="0"/>
              <a:t>KETERANG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648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2602632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d-ID" dirty="0"/>
              <a:t>SUB JUDUL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3664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ctr" defTabSz="914400" rtl="0" eaLnBrk="1" latinLnBrk="0" hangingPunct="1"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3" hidden="1">
            <a:extLst>
              <a:ext uri="{FF2B5EF4-FFF2-40B4-BE49-F238E27FC236}">
                <a16:creationId xmlns:a16="http://schemas.microsoft.com/office/drawing/2014/main" id="{8941D151-CD75-4D9B-8E33-592EAAC87D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4098" name="Object 3" hidden="1">
                        <a:extLst>
                          <a:ext uri="{FF2B5EF4-FFF2-40B4-BE49-F238E27FC236}">
                            <a16:creationId xmlns:a16="http://schemas.microsoft.com/office/drawing/2014/main" id="{8941D151-CD75-4D9B-8E33-592EAAC87D1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Title Placeholder 1">
            <a:extLst>
              <a:ext uri="{FF2B5EF4-FFF2-40B4-BE49-F238E27FC236}">
                <a16:creationId xmlns:a16="http://schemas.microsoft.com/office/drawing/2014/main" id="{CC682B98-DA92-4B51-9F38-5C1EE1E9345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1" y="205979"/>
            <a:ext cx="2602706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d-ID" altLang="en-US"/>
              <a:t>JUDUL</a:t>
            </a:r>
            <a:endParaRPr lang="en-GB" altLang="en-US"/>
          </a:p>
        </p:txBody>
      </p:sp>
      <p:sp>
        <p:nvSpPr>
          <p:cNvPr id="4100" name="Text Placeholder 2">
            <a:extLst>
              <a:ext uri="{FF2B5EF4-FFF2-40B4-BE49-F238E27FC236}">
                <a16:creationId xmlns:a16="http://schemas.microsoft.com/office/drawing/2014/main" id="{9800DA01-E5AD-4CB2-B39E-B434AE1B0C4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d-ID" altLang="en-US"/>
              <a:t>SUB JUDUL</a:t>
            </a:r>
            <a:endParaRPr lang="en-US" altLang="en-US"/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010990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</p:sldLayoutIdLst>
  <p:txStyles>
    <p:titleStyle>
      <a:lvl1pPr algn="ctr" defTabSz="913210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1321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Myriad Pro" pitchFamily="34" charset="0"/>
        </a:defRPr>
      </a:lvl2pPr>
      <a:lvl3pPr algn="ctr" defTabSz="91321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Myriad Pro" pitchFamily="34" charset="0"/>
        </a:defRPr>
      </a:lvl3pPr>
      <a:lvl4pPr algn="ctr" defTabSz="91321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Myriad Pro" pitchFamily="34" charset="0"/>
        </a:defRPr>
      </a:lvl4pPr>
      <a:lvl5pPr algn="ctr" defTabSz="91321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Myriad Pro" pitchFamily="34" charset="0"/>
        </a:defRPr>
      </a:lvl5pPr>
      <a:lvl6pPr marL="342900" algn="ctr" defTabSz="91321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Myriad Pro" pitchFamily="34" charset="0"/>
        </a:defRPr>
      </a:lvl6pPr>
      <a:lvl7pPr marL="685800" algn="ctr" defTabSz="91321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Myriad Pro" pitchFamily="34" charset="0"/>
        </a:defRPr>
      </a:lvl7pPr>
      <a:lvl8pPr marL="1028700" algn="ctr" defTabSz="91321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Myriad Pro" pitchFamily="34" charset="0"/>
        </a:defRPr>
      </a:lvl8pPr>
      <a:lvl9pPr marL="1371600" algn="ctr" defTabSz="91321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Myriad Pro" pitchFamily="34" charset="0"/>
        </a:defRPr>
      </a:lvl9pPr>
    </p:titleStyle>
    <p:bodyStyle>
      <a:lvl1pPr marL="341710" indent="-341710" algn="l" defTabSz="91321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775" kern="1200">
          <a:solidFill>
            <a:schemeClr val="tx1"/>
          </a:solidFill>
          <a:latin typeface="+mn-lt"/>
          <a:ea typeface="+mn-ea"/>
          <a:cs typeface="+mn-cs"/>
        </a:defRPr>
      </a:lvl1pPr>
      <a:lvl2pPr marL="741760" indent="-284560" algn="l" defTabSz="91321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810" indent="-227410" algn="l" defTabSz="91321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599010" indent="-227410" algn="l" defTabSz="91321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210" indent="-227410" algn="l" defTabSz="91321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2602632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dirty="0"/>
              <a:t>JUDU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d-ID" dirty="0"/>
              <a:t>SUB JUDUL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7857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</p:sldLayoutIdLst>
  <p:txStyles>
    <p:titleStyle>
      <a:lvl1pPr algn="ctr" defTabSz="914400" rtl="0" eaLnBrk="1" latinLnBrk="0" hangingPunct="1"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915566"/>
            <a:ext cx="7772400" cy="1021556"/>
          </a:xfrm>
        </p:spPr>
        <p:txBody>
          <a:bodyPr>
            <a:normAutofit fontScale="90000"/>
          </a:bodyPr>
          <a:lstStyle/>
          <a:p>
            <a:pPr algn="ctr"/>
            <a:r>
              <a:rPr lang="id-ID" b="1" dirty="0">
                <a:solidFill>
                  <a:schemeClr val="bg1"/>
                </a:solidFill>
                <a:latin typeface="Myriad Pro" pitchFamily="34" charset="0"/>
              </a:rPr>
              <a:t>community livelihood development</a:t>
            </a:r>
            <a:endParaRPr lang="en-GB" sz="4400" b="1" dirty="0">
              <a:solidFill>
                <a:schemeClr val="bg1"/>
              </a:solidFill>
              <a:latin typeface="Myriad Pro" pitchFamily="34" charset="0"/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3419872" y="2846339"/>
            <a:ext cx="5472608" cy="378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  <a:latin typeface="Myriad Pro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Myriad Pro" pitchFamily="34" charset="0"/>
              </a:rPr>
              <a:t>Patron’s Meeting 5-6 November  </a:t>
            </a:r>
            <a:r>
              <a:rPr lang="id-ID" sz="1200" b="1" dirty="0">
                <a:solidFill>
                  <a:schemeClr val="bg1"/>
                </a:solidFill>
                <a:latin typeface="Myriad Pro" pitchFamily="34" charset="0"/>
              </a:rPr>
              <a:t>202</a:t>
            </a:r>
            <a:r>
              <a:rPr lang="en-US" sz="1200" b="1" dirty="0">
                <a:solidFill>
                  <a:schemeClr val="bg1"/>
                </a:solidFill>
                <a:latin typeface="Myriad Pro" pitchFamily="34" charset="0"/>
              </a:rPr>
              <a:t>5</a:t>
            </a:r>
            <a:endParaRPr lang="id-ID" sz="1200" b="1" dirty="0">
              <a:solidFill>
                <a:schemeClr val="bg1"/>
              </a:solidFill>
              <a:latin typeface="Myriad Pro" pitchFamily="34" charset="0"/>
            </a:endParaRPr>
          </a:p>
          <a:p>
            <a:endParaRPr lang="en-GB" sz="1600" dirty="0">
              <a:solidFill>
                <a:schemeClr val="bg1"/>
              </a:solidFill>
              <a:latin typeface="Myriad Pro" pitchFamily="34" charset="0"/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722313" y="1937122"/>
            <a:ext cx="7772400" cy="36004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2800" dirty="0">
              <a:solidFill>
                <a:schemeClr val="bg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3740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5B63197-E6FA-CF89-BF6B-5371E35465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63F5877B-98C7-49DD-83AB-0F6F57CB6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C25E95-EA7E-F735-F61D-C99F26D5F47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523058" y="-13"/>
            <a:ext cx="3620942" cy="5143498"/>
          </a:xfrm>
          <a:custGeom>
            <a:avLst/>
            <a:gdLst/>
            <a:ahLst/>
            <a:cxnLst/>
            <a:rect l="l" t="t" r="r" b="b"/>
            <a:pathLst>
              <a:path w="4827922" h="6858000">
                <a:moveTo>
                  <a:pt x="4441" y="0"/>
                </a:moveTo>
                <a:lnTo>
                  <a:pt x="4827922" y="0"/>
                </a:lnTo>
                <a:lnTo>
                  <a:pt x="4827922" y="6858000"/>
                </a:lnTo>
                <a:lnTo>
                  <a:pt x="0" y="6858000"/>
                </a:lnTo>
                <a:lnTo>
                  <a:pt x="106674" y="6638378"/>
                </a:lnTo>
                <a:cubicBezTo>
                  <a:pt x="530028" y="5720938"/>
                  <a:pt x="777229" y="4614948"/>
                  <a:pt x="777229" y="3424428"/>
                </a:cubicBezTo>
                <a:cubicBezTo>
                  <a:pt x="777229" y="2233909"/>
                  <a:pt x="530028" y="1127919"/>
                  <a:pt x="106674" y="210478"/>
                </a:cubicBezTo>
                <a:close/>
              </a:path>
            </a:pathLst>
          </a:custGeom>
        </p:spPr>
      </p:pic>
      <p:pic>
        <p:nvPicPr>
          <p:cNvPr id="5" name="Gambar 5">
            <a:extLst>
              <a:ext uri="{FF2B5EF4-FFF2-40B4-BE49-F238E27FC236}">
                <a16:creationId xmlns:a16="http://schemas.microsoft.com/office/drawing/2014/main" id="{0473FC43-C88D-3A4B-471B-25E3F747F31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0" r="36018"/>
          <a:stretch>
            <a:fillRect/>
          </a:stretch>
        </p:blipFill>
        <p:spPr>
          <a:xfrm>
            <a:off x="2339520" y="13"/>
            <a:ext cx="3724717" cy="5143499"/>
          </a:xfrm>
          <a:custGeom>
            <a:avLst/>
            <a:gdLst/>
            <a:ahLst/>
            <a:cxnLst/>
            <a:rect l="l" t="t" r="r" b="b"/>
            <a:pathLst>
              <a:path w="4966290" h="6857999">
                <a:moveTo>
                  <a:pt x="0" y="0"/>
                </a:moveTo>
                <a:lnTo>
                  <a:pt x="4188230" y="0"/>
                </a:lnTo>
                <a:lnTo>
                  <a:pt x="4295735" y="210478"/>
                </a:lnTo>
                <a:cubicBezTo>
                  <a:pt x="4719089" y="1127919"/>
                  <a:pt x="4966290" y="2233909"/>
                  <a:pt x="4966290" y="3424428"/>
                </a:cubicBezTo>
                <a:cubicBezTo>
                  <a:pt x="4966290" y="4614948"/>
                  <a:pt x="4719089" y="5720938"/>
                  <a:pt x="4295735" y="6638378"/>
                </a:cubicBezTo>
                <a:lnTo>
                  <a:pt x="4183560" y="6857999"/>
                </a:lnTo>
                <a:lnTo>
                  <a:pt x="53039" y="6857999"/>
                </a:lnTo>
                <a:lnTo>
                  <a:pt x="132047" y="6695338"/>
                </a:lnTo>
                <a:cubicBezTo>
                  <a:pt x="555401" y="5777898"/>
                  <a:pt x="802602" y="4671908"/>
                  <a:pt x="802602" y="3481388"/>
                </a:cubicBezTo>
                <a:cubicBezTo>
                  <a:pt x="802602" y="2191659"/>
                  <a:pt x="512484" y="1001134"/>
                  <a:pt x="22579" y="42066"/>
                </a:cubicBezTo>
                <a:close/>
              </a:path>
            </a:pathLst>
          </a:custGeom>
        </p:spPr>
      </p:pic>
      <p:sp useBgFill="1">
        <p:nvSpPr>
          <p:cNvPr id="14" name="Freeform: Shape 13">
            <a:extLst>
              <a:ext uri="{FF2B5EF4-FFF2-40B4-BE49-F238E27FC236}">
                <a16:creationId xmlns:a16="http://schemas.microsoft.com/office/drawing/2014/main" id="{4EA91930-66BC-4C41-B4F5-C31EB216F6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959361" cy="5143500"/>
          </a:xfrm>
          <a:custGeom>
            <a:avLst/>
            <a:gdLst>
              <a:gd name="connsiteX0" fmla="*/ 0 w 3945815"/>
              <a:gd name="connsiteY0" fmla="*/ 0 h 6858000"/>
              <a:gd name="connsiteX1" fmla="*/ 3138662 w 3945815"/>
              <a:gd name="connsiteY1" fmla="*/ 0 h 6858000"/>
              <a:gd name="connsiteX2" fmla="*/ 3275260 w 3945815"/>
              <a:gd name="connsiteY2" fmla="*/ 267438 h 6858000"/>
              <a:gd name="connsiteX3" fmla="*/ 3945815 w 3945815"/>
              <a:gd name="connsiteY3" fmla="*/ 3481388 h 6858000"/>
              <a:gd name="connsiteX4" fmla="*/ 3275260 w 3945815"/>
              <a:gd name="connsiteY4" fmla="*/ 6695338 h 6858000"/>
              <a:gd name="connsiteX5" fmla="*/ 3192177 w 3945815"/>
              <a:gd name="connsiteY5" fmla="*/ 6858000 h 6858000"/>
              <a:gd name="connsiteX6" fmla="*/ 0 w 394581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45815" h="6858000">
                <a:moveTo>
                  <a:pt x="0" y="0"/>
                </a:moveTo>
                <a:lnTo>
                  <a:pt x="3138662" y="0"/>
                </a:lnTo>
                <a:lnTo>
                  <a:pt x="3275260" y="267438"/>
                </a:lnTo>
                <a:cubicBezTo>
                  <a:pt x="3698614" y="1184879"/>
                  <a:pt x="3945815" y="2290869"/>
                  <a:pt x="3945815" y="3481388"/>
                </a:cubicBezTo>
                <a:cubicBezTo>
                  <a:pt x="3945815" y="4671908"/>
                  <a:pt x="3698614" y="5777898"/>
                  <a:pt x="3275260" y="6695338"/>
                </a:cubicBezTo>
                <a:lnTo>
                  <a:pt x="3192177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6" name="Freeform: Shape 15">
            <a:extLst>
              <a:ext uri="{FF2B5EF4-FFF2-40B4-BE49-F238E27FC236}">
                <a16:creationId xmlns:a16="http://schemas.microsoft.com/office/drawing/2014/main" id="{6313CF8F-B436-401E-9575-DE0F8E8B5B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952502" cy="5143500"/>
          </a:xfrm>
          <a:custGeom>
            <a:avLst/>
            <a:gdLst>
              <a:gd name="connsiteX0" fmla="*/ 0 w 3936670"/>
              <a:gd name="connsiteY0" fmla="*/ 0 h 6858000"/>
              <a:gd name="connsiteX1" fmla="*/ 3129517 w 3936670"/>
              <a:gd name="connsiteY1" fmla="*/ 0 h 6858000"/>
              <a:gd name="connsiteX2" fmla="*/ 3266115 w 3936670"/>
              <a:gd name="connsiteY2" fmla="*/ 267438 h 6858000"/>
              <a:gd name="connsiteX3" fmla="*/ 3936670 w 3936670"/>
              <a:gd name="connsiteY3" fmla="*/ 3481388 h 6858000"/>
              <a:gd name="connsiteX4" fmla="*/ 3266115 w 3936670"/>
              <a:gd name="connsiteY4" fmla="*/ 6695338 h 6858000"/>
              <a:gd name="connsiteX5" fmla="*/ 3183032 w 3936670"/>
              <a:gd name="connsiteY5" fmla="*/ 6858000 h 6858000"/>
              <a:gd name="connsiteX6" fmla="*/ 0 w 39366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6670" h="6858000">
                <a:moveTo>
                  <a:pt x="0" y="0"/>
                </a:moveTo>
                <a:lnTo>
                  <a:pt x="3129517" y="0"/>
                </a:lnTo>
                <a:lnTo>
                  <a:pt x="3266115" y="267438"/>
                </a:lnTo>
                <a:cubicBezTo>
                  <a:pt x="3689469" y="1184879"/>
                  <a:pt x="3936670" y="2290869"/>
                  <a:pt x="3936670" y="3481388"/>
                </a:cubicBezTo>
                <a:cubicBezTo>
                  <a:pt x="3936670" y="4671908"/>
                  <a:pt x="3689469" y="5777898"/>
                  <a:pt x="3266115" y="6695338"/>
                </a:cubicBezTo>
                <a:lnTo>
                  <a:pt x="3183032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ound Diagonal Corner Rectangle 1">
            <a:extLst>
              <a:ext uri="{FF2B5EF4-FFF2-40B4-BE49-F238E27FC236}">
                <a16:creationId xmlns:a16="http://schemas.microsoft.com/office/drawing/2014/main" id="{25C74993-4A5F-5937-187E-6B879F120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42" y="510778"/>
            <a:ext cx="2103378" cy="994172"/>
          </a:xfrm>
          <a:prstGeom prst="round2Diag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Business unit/Cooperativ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38CFE9-C30A-4551-ACCB-D5808FBC39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762650"/>
            <a:ext cx="96012" cy="49042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EF550F-47CE-4FB2-9DAC-12AD835C83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9184" y="1567455"/>
            <a:ext cx="2125980" cy="13716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2">
            <a:extLst>
              <a:ext uri="{FF2B5EF4-FFF2-40B4-BE49-F238E27FC236}">
                <a16:creationId xmlns:a16="http://schemas.microsoft.com/office/drawing/2014/main" id="{2B1BF624-7248-51C9-1F87-0064BB6EAFA3}"/>
              </a:ext>
            </a:extLst>
          </p:cNvPr>
          <p:cNvSpPr txBox="1"/>
          <p:nvPr/>
        </p:nvSpPr>
        <p:spPr>
          <a:xfrm>
            <a:off x="336042" y="1693628"/>
            <a:ext cx="2103378" cy="29390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b="1" dirty="0"/>
              <a:t>Berkah </a:t>
            </a:r>
            <a:r>
              <a:rPr lang="en-US" sz="1400" b="1" dirty="0" err="1"/>
              <a:t>Kunangan</a:t>
            </a:r>
            <a:r>
              <a:rPr lang="en-US" sz="1400" b="1" dirty="0"/>
              <a:t> </a:t>
            </a:r>
            <a:r>
              <a:rPr lang="en-US" sz="1400" b="1" dirty="0" err="1"/>
              <a:t>Mandiri</a:t>
            </a:r>
            <a:r>
              <a:rPr lang="en-US" sz="1400" b="1" dirty="0"/>
              <a:t> Cooperative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ooperative is managed by the member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30 farmers are member of the cooperative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On average 2.5 tons  per month are sold to  PT. </a:t>
            </a:r>
            <a:r>
              <a:rPr lang="en-US" sz="1400" dirty="0" err="1"/>
              <a:t>HokTong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848223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77331AD-2C27-737F-2685-07A5B7C330AD}"/>
              </a:ext>
            </a:extLst>
          </p:cNvPr>
          <p:cNvSpPr txBox="1"/>
          <p:nvPr/>
        </p:nvSpPr>
        <p:spPr>
          <a:xfrm>
            <a:off x="755576" y="195486"/>
            <a:ext cx="54726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Rubber Supply Chain</a:t>
            </a:r>
            <a:endParaRPr kumimoji="0" lang="en-ID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DA1B5-66C1-32A4-882D-DCB3AD861F1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" r="-1"/>
          <a:stretch/>
        </p:blipFill>
        <p:spPr>
          <a:xfrm>
            <a:off x="595030" y="1326654"/>
            <a:ext cx="8009417" cy="1470787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7EC49D74-64DD-6A46-ABCF-666C1AA79473}"/>
              </a:ext>
            </a:extLst>
          </p:cNvPr>
          <p:cNvGrpSpPr/>
          <p:nvPr/>
        </p:nvGrpSpPr>
        <p:grpSpPr>
          <a:xfrm>
            <a:off x="971600" y="843558"/>
            <a:ext cx="6364323" cy="429086"/>
            <a:chOff x="719573" y="873876"/>
            <a:chExt cx="6364323" cy="429086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AD9C0A3-ED53-D77D-8D5A-6F081A10F61B}"/>
                </a:ext>
              </a:extLst>
            </p:cNvPr>
            <p:cNvSpPr txBox="1"/>
            <p:nvPr/>
          </p:nvSpPr>
          <p:spPr>
            <a:xfrm>
              <a:off x="719573" y="898270"/>
              <a:ext cx="1080120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yriad Pro"/>
                  <a:ea typeface="+mn-ea"/>
                  <a:cs typeface="+mn-cs"/>
                </a:rPr>
                <a:t>Farmers</a:t>
              </a: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429701B-86E3-E6CD-E307-06F652D9C2C6}"/>
                </a:ext>
              </a:extLst>
            </p:cNvPr>
            <p:cNvSpPr txBox="1"/>
            <p:nvPr/>
          </p:nvSpPr>
          <p:spPr>
            <a:xfrm>
              <a:off x="3099263" y="873876"/>
              <a:ext cx="1728192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yriad Pro"/>
                  <a:ea typeface="+mn-ea"/>
                  <a:cs typeface="+mn-cs"/>
                </a:rPr>
                <a:t>Cooperative</a:t>
              </a: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37CE47F-1FAF-B1BF-3001-80473DF754B4}"/>
                </a:ext>
              </a:extLst>
            </p:cNvPr>
            <p:cNvSpPr txBox="1"/>
            <p:nvPr/>
          </p:nvSpPr>
          <p:spPr>
            <a:xfrm>
              <a:off x="5355704" y="933630"/>
              <a:ext cx="1728192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yriad Pro"/>
                  <a:ea typeface="+mn-ea"/>
                  <a:cs typeface="+mn-cs"/>
                </a:rPr>
                <a:t>PT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yriad Pro"/>
                  <a:ea typeface="+mn-ea"/>
                  <a:cs typeface="+mn-cs"/>
                </a:rPr>
                <a:t>HokTong</a:t>
              </a: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C2C7B21C-56A8-3674-B66B-D74D64B839FB}"/>
                </a:ext>
              </a:extLst>
            </p:cNvPr>
            <p:cNvSpPr/>
            <p:nvPr/>
          </p:nvSpPr>
          <p:spPr>
            <a:xfrm>
              <a:off x="1957822" y="983865"/>
              <a:ext cx="936104" cy="216024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669CD245-57C3-CE4E-A309-C3FE83AF8EDA}"/>
                </a:ext>
              </a:extLst>
            </p:cNvPr>
            <p:cNvSpPr/>
            <p:nvPr/>
          </p:nvSpPr>
          <p:spPr>
            <a:xfrm>
              <a:off x="4932040" y="983865"/>
              <a:ext cx="423664" cy="155266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1F39911C-BB7B-661E-F390-EC569291C1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0232" y="2797441"/>
            <a:ext cx="1977720" cy="16465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2F925B8-2285-6200-28A0-B3DE10C22D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35896" y="2851451"/>
            <a:ext cx="2520280" cy="1597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4567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958983" y="976882"/>
            <a:ext cx="1069467" cy="1069467"/>
            <a:chOff x="0" y="0"/>
            <a:chExt cx="812800" cy="812800"/>
          </a:xfrm>
          <a:gradFill>
            <a:gsLst>
              <a:gs pos="0">
                <a:srgbClr val="00B05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grpSpPr>
        <p:sp>
          <p:nvSpPr>
            <p:cNvPr id="3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  <a:grpFill/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2467907" y="976881"/>
            <a:ext cx="1069467" cy="1069467"/>
            <a:chOff x="0" y="0"/>
            <a:chExt cx="812800" cy="812800"/>
          </a:xfrm>
          <a:gradFill>
            <a:gsLst>
              <a:gs pos="0">
                <a:srgbClr val="00B05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grpSpPr>
        <p:sp>
          <p:nvSpPr>
            <p:cNvPr id="6" name="Freeform 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  <a:grpFill/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3864422" y="977818"/>
            <a:ext cx="1069467" cy="1069467"/>
            <a:chOff x="0" y="0"/>
            <a:chExt cx="812800" cy="812800"/>
          </a:xfrm>
          <a:gradFill>
            <a:gsLst>
              <a:gs pos="0">
                <a:srgbClr val="00B05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  <a:grpFill/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5373346" y="976881"/>
            <a:ext cx="1069467" cy="1069467"/>
            <a:chOff x="0" y="0"/>
            <a:chExt cx="812800" cy="812800"/>
          </a:xfrm>
          <a:gradFill>
            <a:gsLst>
              <a:gs pos="0">
                <a:srgbClr val="00B05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  <a:grpFill/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6804246" y="971102"/>
            <a:ext cx="1069467" cy="1069467"/>
            <a:chOff x="0" y="0"/>
            <a:chExt cx="812800" cy="812800"/>
          </a:xfrm>
          <a:gradFill>
            <a:gsLst>
              <a:gs pos="0">
                <a:srgbClr val="00B05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grpSpPr>
        <p:sp>
          <p:nvSpPr>
            <p:cNvPr id="15" name="Freeform 15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16" name="TextBox 16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  <a:grpFill/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sp>
        <p:nvSpPr>
          <p:cNvPr id="17" name="Freeform 17"/>
          <p:cNvSpPr/>
          <p:nvPr/>
        </p:nvSpPr>
        <p:spPr>
          <a:xfrm>
            <a:off x="1170282" y="1198816"/>
            <a:ext cx="646867" cy="646867"/>
          </a:xfrm>
          <a:custGeom>
            <a:avLst/>
            <a:gdLst/>
            <a:ahLst/>
            <a:cxnLst/>
            <a:rect l="l" t="t" r="r" b="b"/>
            <a:pathLst>
              <a:path w="1293733" h="1293733">
                <a:moveTo>
                  <a:pt x="0" y="0"/>
                </a:moveTo>
                <a:lnTo>
                  <a:pt x="1293733" y="0"/>
                </a:lnTo>
                <a:lnTo>
                  <a:pt x="1293733" y="1293733"/>
                </a:lnTo>
                <a:lnTo>
                  <a:pt x="0" y="12937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18" name="TextBox 18"/>
          <p:cNvSpPr txBox="1"/>
          <p:nvPr/>
        </p:nvSpPr>
        <p:spPr>
          <a:xfrm>
            <a:off x="497084" y="260442"/>
            <a:ext cx="5672808" cy="4488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350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18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Farmers’ Training Dashboard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847138" y="3408637"/>
            <a:ext cx="1175219" cy="1184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Target: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75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 Farm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92828"/>
              </a:solidFill>
              <a:effectLst/>
              <a:uLnTx/>
              <a:uFillTx/>
              <a:latin typeface="Poppins" panose="00000500000000000000" pitchFamily="2" charset="0"/>
              <a:ea typeface="Calibri" panose="020F0502020204030204" pitchFamily="34" charset="0"/>
              <a:cs typeface="Poppins" panose="00000500000000000000" pitchFamily="2" charset="0"/>
              <a:sym typeface="Poppin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Conducted 4 times a year </a:t>
            </a:r>
            <a:r>
              <a:rPr lang="en-US" sz="1100" dirty="0">
                <a:solidFill>
                  <a:srgbClr val="292828"/>
                </a:solidFill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wit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 the same participants.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847139" y="2200615"/>
            <a:ext cx="1175219" cy="9487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6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Good Agricultural Practice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 (GAP) Training</a:t>
            </a:r>
            <a:endParaRPr kumimoji="0" lang="en-US" sz="1336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Poppins Bold"/>
              <a:ea typeface="Poppins Bold"/>
              <a:cs typeface="Poppins Bold"/>
              <a:sym typeface="Poppins Bold"/>
            </a:endParaRPr>
          </a:p>
        </p:txBody>
      </p:sp>
      <p:sp>
        <p:nvSpPr>
          <p:cNvPr id="21" name="TextBox 21"/>
          <p:cNvSpPr txBox="1"/>
          <p:nvPr/>
        </p:nvSpPr>
        <p:spPr>
          <a:xfrm>
            <a:off x="2486982" y="3406765"/>
            <a:ext cx="1200441" cy="1184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Target: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60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 Farm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92828"/>
              </a:solidFill>
              <a:effectLst/>
              <a:uLnTx/>
              <a:uFillTx/>
              <a:latin typeface="Poppins" panose="00000500000000000000" pitchFamily="2" charset="0"/>
              <a:ea typeface="Calibri" panose="020F0502020204030204" pitchFamily="34" charset="0"/>
              <a:cs typeface="Poppins" panose="00000500000000000000" pitchFamily="2" charset="0"/>
              <a:sym typeface="Poppin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Conducted 4 times a year </a:t>
            </a:r>
            <a:r>
              <a:rPr lang="en-US" sz="1100" dirty="0">
                <a:solidFill>
                  <a:srgbClr val="292828"/>
                </a:solidFill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wit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 the same participants.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2406232" y="2169746"/>
            <a:ext cx="1175219" cy="120533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6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Clean and Healthy Living </a:t>
            </a:r>
            <a:r>
              <a:rPr kumimoji="0" lang="en-US" sz="1336" b="1" i="0" u="none" strike="noStrike" kern="1200" cap="none" spc="0" normalizeH="0" baseline="0" noProof="0" dirty="0" err="1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Behaviour</a:t>
            </a:r>
            <a:r>
              <a:rPr kumimoji="0" lang="en-US" sz="1336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 Training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3977936" y="3406765"/>
            <a:ext cx="1200441" cy="130599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Target: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60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 Wom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92828"/>
              </a:solidFill>
              <a:effectLst/>
              <a:uLnTx/>
              <a:uFillTx/>
              <a:latin typeface="Poppins" panose="00000500000000000000" pitchFamily="2" charset="0"/>
              <a:ea typeface="Calibri" panose="020F0502020204030204" pitchFamily="34" charset="0"/>
              <a:cs typeface="Poppins" panose="00000500000000000000" pitchFamily="2" charset="0"/>
              <a:sym typeface="Poppin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Conducted 4 times a year </a:t>
            </a:r>
            <a:r>
              <a:rPr lang="en-US" sz="1100" dirty="0">
                <a:solidFill>
                  <a:srgbClr val="292828"/>
                </a:solidFill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wit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 the same participants.</a:t>
            </a:r>
          </a:p>
          <a:p>
            <a:pPr marL="0" marR="0" lvl="0" indent="0" algn="ctr" defTabSz="914400" rtl="0" eaLnBrk="1" fontAlgn="auto" latinLnBrk="0" hangingPunct="1">
              <a:lnSpc>
                <a:spcPts val="9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3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. 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3858062" y="2193256"/>
            <a:ext cx="1302946" cy="9616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6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Women’s Reproductive Health Training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5492702" y="3406765"/>
            <a:ext cx="1200441" cy="1184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Target: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30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 Wom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92828"/>
              </a:solidFill>
              <a:effectLst/>
              <a:uLnTx/>
              <a:uFillTx/>
              <a:latin typeface="Poppins" panose="00000500000000000000" pitchFamily="2" charset="0"/>
              <a:ea typeface="Calibri" panose="020F0502020204030204" pitchFamily="34" charset="0"/>
              <a:cs typeface="Poppins" panose="00000500000000000000" pitchFamily="2" charset="0"/>
              <a:sym typeface="Poppin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Conducted 4 times a year for the same participant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5467056" y="2219521"/>
            <a:ext cx="1175219" cy="718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6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Financial and Adm Training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6906751" y="3406765"/>
            <a:ext cx="1200441" cy="50783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292828"/>
                </a:solidFill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C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onducte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 3 times for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3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828"/>
                </a:solidFill>
                <a:effectLst/>
                <a:uLnTx/>
                <a:uFillTx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sym typeface="Poppins"/>
              </a:rPr>
              <a:t> farmers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6804246" y="2219521"/>
            <a:ext cx="1302946" cy="7180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7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6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Cattle farm Management Training</a:t>
            </a:r>
          </a:p>
        </p:txBody>
      </p:sp>
      <p:sp>
        <p:nvSpPr>
          <p:cNvPr id="29" name="Freeform 29"/>
          <p:cNvSpPr/>
          <p:nvPr/>
        </p:nvSpPr>
        <p:spPr>
          <a:xfrm>
            <a:off x="2686621" y="1215982"/>
            <a:ext cx="646867" cy="646867"/>
          </a:xfrm>
          <a:custGeom>
            <a:avLst/>
            <a:gdLst/>
            <a:ahLst/>
            <a:cxnLst/>
            <a:rect l="l" t="t" r="r" b="b"/>
            <a:pathLst>
              <a:path w="1293733" h="1293733">
                <a:moveTo>
                  <a:pt x="0" y="0"/>
                </a:moveTo>
                <a:lnTo>
                  <a:pt x="1293733" y="0"/>
                </a:lnTo>
                <a:lnTo>
                  <a:pt x="1293733" y="1293733"/>
                </a:lnTo>
                <a:lnTo>
                  <a:pt x="0" y="12937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30" name="Freeform 30"/>
          <p:cNvSpPr/>
          <p:nvPr/>
        </p:nvSpPr>
        <p:spPr>
          <a:xfrm>
            <a:off x="4069238" y="1198816"/>
            <a:ext cx="646867" cy="646867"/>
          </a:xfrm>
          <a:custGeom>
            <a:avLst/>
            <a:gdLst/>
            <a:ahLst/>
            <a:cxnLst/>
            <a:rect l="l" t="t" r="r" b="b"/>
            <a:pathLst>
              <a:path w="1293733" h="1293733">
                <a:moveTo>
                  <a:pt x="0" y="0"/>
                </a:moveTo>
                <a:lnTo>
                  <a:pt x="1293732" y="0"/>
                </a:lnTo>
                <a:lnTo>
                  <a:pt x="1293732" y="1293733"/>
                </a:lnTo>
                <a:lnTo>
                  <a:pt x="0" y="12937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31" name="Freeform 31"/>
          <p:cNvSpPr/>
          <p:nvPr/>
        </p:nvSpPr>
        <p:spPr>
          <a:xfrm>
            <a:off x="5578162" y="1276105"/>
            <a:ext cx="646867" cy="646867"/>
          </a:xfrm>
          <a:custGeom>
            <a:avLst/>
            <a:gdLst/>
            <a:ahLst/>
            <a:cxnLst/>
            <a:rect l="l" t="t" r="r" b="b"/>
            <a:pathLst>
              <a:path w="1293733" h="1293733">
                <a:moveTo>
                  <a:pt x="0" y="0"/>
                </a:moveTo>
                <a:lnTo>
                  <a:pt x="1293733" y="0"/>
                </a:lnTo>
                <a:lnTo>
                  <a:pt x="1293733" y="1293733"/>
                </a:lnTo>
                <a:lnTo>
                  <a:pt x="0" y="12937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32" name="Freeform 32"/>
          <p:cNvSpPr/>
          <p:nvPr/>
        </p:nvSpPr>
        <p:spPr>
          <a:xfrm>
            <a:off x="7015545" y="1276104"/>
            <a:ext cx="646867" cy="646867"/>
          </a:xfrm>
          <a:custGeom>
            <a:avLst/>
            <a:gdLst/>
            <a:ahLst/>
            <a:cxnLst/>
            <a:rect l="l" t="t" r="r" b="b"/>
            <a:pathLst>
              <a:path w="1293733" h="1293733">
                <a:moveTo>
                  <a:pt x="0" y="0"/>
                </a:moveTo>
                <a:lnTo>
                  <a:pt x="1293733" y="0"/>
                </a:lnTo>
                <a:lnTo>
                  <a:pt x="1293733" y="1293733"/>
                </a:lnTo>
                <a:lnTo>
                  <a:pt x="0" y="12937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EC7690-A3B5-33BC-F1E9-68E26F10BE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148" y="118340"/>
            <a:ext cx="5842992" cy="857250"/>
          </a:xfrm>
        </p:spPr>
        <p:txBody>
          <a:bodyPr>
            <a:normAutofit/>
          </a:bodyPr>
          <a:lstStyle/>
          <a:p>
            <a:pPr algn="l"/>
            <a:r>
              <a:rPr lang="en-ID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tworking with Stakehold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6C81D9-65C2-960D-8DC2-06F3303FA4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357" y="771550"/>
            <a:ext cx="3866964" cy="3672407"/>
          </a:xfrm>
        </p:spPr>
        <p:txBody>
          <a:bodyPr>
            <a:noAutofit/>
          </a:bodyPr>
          <a:lstStyle/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ment of a joint plan for Community Empowerment activities with PT MBJ along the coal road.</a:t>
            </a:r>
          </a:p>
          <a:p>
            <a:pPr marL="0" indent="0">
              <a:buNone/>
            </a:pP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llaboration plan with Cappa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adilan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cologi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o promote village agreements and cooperation through business development in the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samo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juForest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Management Unit (KTH Maju) and the Sungai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lisak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orest Farmer Group (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apoktanhut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.</a:t>
            </a:r>
          </a:p>
          <a:p>
            <a:pPr marL="0" indent="0">
              <a:buNone/>
            </a:pP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cal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overnement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Meeting with the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rolangun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Hilir Forest Management Unit (RPHJP) to promote collaboration in the villages of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pintun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mban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gatal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ing financial literacy guide for the Batin Sembilan  with finance consultant.</a:t>
            </a:r>
            <a:endParaRPr lang="en-ID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7C47FC-E330-948B-C476-8DFE09FAAE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4248" y="0"/>
            <a:ext cx="2339752" cy="44439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49D285E-20EA-B1BD-47D4-F193118CD4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8375" y="0"/>
            <a:ext cx="2295873" cy="4443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2478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63F5877B-98C7-49DD-83AB-0F6F57CB6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B06B86-8C9F-1A8F-991D-D8EF4538805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6928" r="23366"/>
          <a:stretch>
            <a:fillRect/>
          </a:stretch>
        </p:blipFill>
        <p:spPr>
          <a:xfrm>
            <a:off x="5523058" y="-13"/>
            <a:ext cx="3620942" cy="5143498"/>
          </a:xfrm>
          <a:custGeom>
            <a:avLst/>
            <a:gdLst/>
            <a:ahLst/>
            <a:cxnLst/>
            <a:rect l="l" t="t" r="r" b="b"/>
            <a:pathLst>
              <a:path w="4827922" h="6858000">
                <a:moveTo>
                  <a:pt x="4441" y="0"/>
                </a:moveTo>
                <a:lnTo>
                  <a:pt x="4827922" y="0"/>
                </a:lnTo>
                <a:lnTo>
                  <a:pt x="4827922" y="6858000"/>
                </a:lnTo>
                <a:lnTo>
                  <a:pt x="0" y="6858000"/>
                </a:lnTo>
                <a:lnTo>
                  <a:pt x="106674" y="6638378"/>
                </a:lnTo>
                <a:cubicBezTo>
                  <a:pt x="530028" y="5720938"/>
                  <a:pt x="777229" y="4614948"/>
                  <a:pt x="777229" y="3424428"/>
                </a:cubicBezTo>
                <a:cubicBezTo>
                  <a:pt x="777229" y="2233909"/>
                  <a:pt x="530028" y="1127919"/>
                  <a:pt x="106674" y="210478"/>
                </a:cubicBezTo>
                <a:close/>
              </a:path>
            </a:pathLst>
          </a:cu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39D6A6F-7EEB-FEA6-F4C5-E954217CD5F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6164" r="31249"/>
          <a:stretch>
            <a:fillRect/>
          </a:stretch>
        </p:blipFill>
        <p:spPr>
          <a:xfrm>
            <a:off x="2339520" y="13"/>
            <a:ext cx="3724717" cy="5143499"/>
          </a:xfrm>
          <a:custGeom>
            <a:avLst/>
            <a:gdLst/>
            <a:ahLst/>
            <a:cxnLst/>
            <a:rect l="l" t="t" r="r" b="b"/>
            <a:pathLst>
              <a:path w="4966290" h="6857999">
                <a:moveTo>
                  <a:pt x="0" y="0"/>
                </a:moveTo>
                <a:lnTo>
                  <a:pt x="4188230" y="0"/>
                </a:lnTo>
                <a:lnTo>
                  <a:pt x="4295735" y="210478"/>
                </a:lnTo>
                <a:cubicBezTo>
                  <a:pt x="4719089" y="1127919"/>
                  <a:pt x="4966290" y="2233909"/>
                  <a:pt x="4966290" y="3424428"/>
                </a:cubicBezTo>
                <a:cubicBezTo>
                  <a:pt x="4966290" y="4614948"/>
                  <a:pt x="4719089" y="5720938"/>
                  <a:pt x="4295735" y="6638378"/>
                </a:cubicBezTo>
                <a:lnTo>
                  <a:pt x="4183560" y="6857999"/>
                </a:lnTo>
                <a:lnTo>
                  <a:pt x="53039" y="6857999"/>
                </a:lnTo>
                <a:lnTo>
                  <a:pt x="132047" y="6695338"/>
                </a:lnTo>
                <a:cubicBezTo>
                  <a:pt x="555401" y="5777898"/>
                  <a:pt x="802602" y="4671908"/>
                  <a:pt x="802602" y="3481388"/>
                </a:cubicBezTo>
                <a:cubicBezTo>
                  <a:pt x="802602" y="2191659"/>
                  <a:pt x="512484" y="1001134"/>
                  <a:pt x="22579" y="42066"/>
                </a:cubicBezTo>
                <a:close/>
              </a:path>
            </a:pathLst>
          </a:custGeom>
        </p:spPr>
      </p:pic>
      <p:sp useBgFill="1">
        <p:nvSpPr>
          <p:cNvPr id="21" name="Freeform: Shape 20">
            <a:extLst>
              <a:ext uri="{FF2B5EF4-FFF2-40B4-BE49-F238E27FC236}">
                <a16:creationId xmlns:a16="http://schemas.microsoft.com/office/drawing/2014/main" id="{4EA91930-66BC-4C41-B4F5-C31EB216F6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959361" cy="5143500"/>
          </a:xfrm>
          <a:custGeom>
            <a:avLst/>
            <a:gdLst>
              <a:gd name="connsiteX0" fmla="*/ 0 w 3945815"/>
              <a:gd name="connsiteY0" fmla="*/ 0 h 6858000"/>
              <a:gd name="connsiteX1" fmla="*/ 3138662 w 3945815"/>
              <a:gd name="connsiteY1" fmla="*/ 0 h 6858000"/>
              <a:gd name="connsiteX2" fmla="*/ 3275260 w 3945815"/>
              <a:gd name="connsiteY2" fmla="*/ 267438 h 6858000"/>
              <a:gd name="connsiteX3" fmla="*/ 3945815 w 3945815"/>
              <a:gd name="connsiteY3" fmla="*/ 3481388 h 6858000"/>
              <a:gd name="connsiteX4" fmla="*/ 3275260 w 3945815"/>
              <a:gd name="connsiteY4" fmla="*/ 6695338 h 6858000"/>
              <a:gd name="connsiteX5" fmla="*/ 3192177 w 3945815"/>
              <a:gd name="connsiteY5" fmla="*/ 6858000 h 6858000"/>
              <a:gd name="connsiteX6" fmla="*/ 0 w 394581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45815" h="6858000">
                <a:moveTo>
                  <a:pt x="0" y="0"/>
                </a:moveTo>
                <a:lnTo>
                  <a:pt x="3138662" y="0"/>
                </a:lnTo>
                <a:lnTo>
                  <a:pt x="3275260" y="267438"/>
                </a:lnTo>
                <a:cubicBezTo>
                  <a:pt x="3698614" y="1184879"/>
                  <a:pt x="3945815" y="2290869"/>
                  <a:pt x="3945815" y="3481388"/>
                </a:cubicBezTo>
                <a:cubicBezTo>
                  <a:pt x="3945815" y="4671908"/>
                  <a:pt x="3698614" y="5777898"/>
                  <a:pt x="3275260" y="6695338"/>
                </a:cubicBezTo>
                <a:lnTo>
                  <a:pt x="3192177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6313CF8F-B436-401E-9575-DE0F8E8B5B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952502" cy="5143500"/>
          </a:xfrm>
          <a:custGeom>
            <a:avLst/>
            <a:gdLst>
              <a:gd name="connsiteX0" fmla="*/ 0 w 3936670"/>
              <a:gd name="connsiteY0" fmla="*/ 0 h 6858000"/>
              <a:gd name="connsiteX1" fmla="*/ 3129517 w 3936670"/>
              <a:gd name="connsiteY1" fmla="*/ 0 h 6858000"/>
              <a:gd name="connsiteX2" fmla="*/ 3266115 w 3936670"/>
              <a:gd name="connsiteY2" fmla="*/ 267438 h 6858000"/>
              <a:gd name="connsiteX3" fmla="*/ 3936670 w 3936670"/>
              <a:gd name="connsiteY3" fmla="*/ 3481388 h 6858000"/>
              <a:gd name="connsiteX4" fmla="*/ 3266115 w 3936670"/>
              <a:gd name="connsiteY4" fmla="*/ 6695338 h 6858000"/>
              <a:gd name="connsiteX5" fmla="*/ 3183032 w 3936670"/>
              <a:gd name="connsiteY5" fmla="*/ 6858000 h 6858000"/>
              <a:gd name="connsiteX6" fmla="*/ 0 w 39366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6670" h="6858000">
                <a:moveTo>
                  <a:pt x="0" y="0"/>
                </a:moveTo>
                <a:lnTo>
                  <a:pt x="3129517" y="0"/>
                </a:lnTo>
                <a:lnTo>
                  <a:pt x="3266115" y="267438"/>
                </a:lnTo>
                <a:cubicBezTo>
                  <a:pt x="3689469" y="1184879"/>
                  <a:pt x="3936670" y="2290869"/>
                  <a:pt x="3936670" y="3481388"/>
                </a:cubicBezTo>
                <a:cubicBezTo>
                  <a:pt x="3936670" y="4671908"/>
                  <a:pt x="3689469" y="5777898"/>
                  <a:pt x="3266115" y="6695338"/>
                </a:cubicBezTo>
                <a:lnTo>
                  <a:pt x="3183032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62D794-C4B5-A17D-3647-3A9B628C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42" y="510778"/>
            <a:ext cx="2103378" cy="994172"/>
          </a:xfrm>
        </p:spPr>
        <p:txBody>
          <a:bodyPr anchor="ctr">
            <a:normAutofit/>
          </a:bodyPr>
          <a:lstStyle/>
          <a:p>
            <a:r>
              <a:rPr lang="en-ID" sz="1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vision of basic </a:t>
            </a:r>
            <a:br>
              <a:rPr lang="en-ID" sz="1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ID" sz="1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ealth and Education Services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8CFE9-C30A-4551-ACCB-D5808FBC39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762650"/>
            <a:ext cx="96012" cy="49042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7EF550F-47CE-4FB2-9DAC-12AD835C83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9184" y="1567455"/>
            <a:ext cx="2125980" cy="13716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400DB9-55BA-EB3F-FD3C-9A9B37501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42" y="1693628"/>
            <a:ext cx="2291742" cy="2939094"/>
          </a:xfr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T REKI is committed to building an enabling environment with communities by investing in: </a:t>
            </a:r>
          </a:p>
          <a:p>
            <a:pPr marL="268288" lvl="1" indent="-18097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mary health care clinic</a:t>
            </a:r>
          </a:p>
          <a:p>
            <a:pPr marL="268288" lvl="1" indent="-18097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mary school for Batin Sembilan children</a:t>
            </a:r>
          </a:p>
          <a:p>
            <a:pPr marL="268288" lvl="1" indent="-18097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l literacy program</a:t>
            </a:r>
          </a:p>
          <a:p>
            <a:pPr marL="268288" lvl="1" indent="-18097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productive health</a:t>
            </a:r>
          </a:p>
          <a:p>
            <a:pPr marL="268288" lvl="1" indent="-18097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munity outreach to promote clean and healthy living environment.  </a:t>
            </a:r>
            <a:endParaRPr lang="en-ID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1771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7454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F711829-26ED-0E2C-D0CC-AF0A8F16A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  <a:endParaRPr lang="en-ID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84BC2EF-263D-9320-531F-53D278F9CD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AutoNum type="arabicPeriod"/>
            </a:pPr>
            <a:r>
              <a:rPr lang="en-US" dirty="0"/>
              <a:t>CRMA Update</a:t>
            </a:r>
          </a:p>
          <a:p>
            <a:pPr marL="514350" indent="-514350">
              <a:buAutoNum type="arabicPeriod"/>
            </a:pPr>
            <a:r>
              <a:rPr lang="en-US" dirty="0"/>
              <a:t>Livelihoods</a:t>
            </a:r>
          </a:p>
          <a:p>
            <a:pPr marL="857250" lvl="1" indent="-457200">
              <a:buAutoNum type="alphaLcPeriod"/>
            </a:pPr>
            <a:r>
              <a:rPr lang="en-ID" dirty="0"/>
              <a:t>Rubber </a:t>
            </a:r>
          </a:p>
          <a:p>
            <a:pPr marL="857250" lvl="1" indent="-457200">
              <a:buAutoNum type="alphaLcPeriod"/>
            </a:pPr>
            <a:r>
              <a:rPr lang="en-ID" dirty="0"/>
              <a:t>Agroforestry</a:t>
            </a:r>
          </a:p>
          <a:p>
            <a:pPr marL="400050" lvl="1" indent="-400050">
              <a:buNone/>
            </a:pPr>
            <a:r>
              <a:rPr lang="en-ID" dirty="0"/>
              <a:t>3. Capacity Building</a:t>
            </a:r>
          </a:p>
          <a:p>
            <a:pPr marL="400050" lvl="1" indent="-400050">
              <a:buNone/>
            </a:pPr>
            <a:r>
              <a:rPr lang="en-ID" dirty="0"/>
              <a:t>4. Networking with Stakeholders</a:t>
            </a:r>
          </a:p>
          <a:p>
            <a:pPr marL="400050" lvl="1" indent="-400050">
              <a:buNone/>
            </a:pPr>
            <a:r>
              <a:rPr lang="en-ID" dirty="0"/>
              <a:t>5</a:t>
            </a:r>
            <a:r>
              <a:rPr lang="en-ID"/>
              <a:t>. </a:t>
            </a:r>
            <a:r>
              <a:rPr lang="en-ID" dirty="0"/>
              <a:t>Health and Education</a:t>
            </a:r>
          </a:p>
        </p:txBody>
      </p:sp>
    </p:spTree>
    <p:extLst>
      <p:ext uri="{BB962C8B-B14F-4D97-AF65-F5344CB8AC3E}">
        <p14:creationId xmlns:p14="http://schemas.microsoft.com/office/powerpoint/2010/main" val="3747475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1">
            <a:extLst>
              <a:ext uri="{FF2B5EF4-FFF2-40B4-BE49-F238E27FC236}">
                <a16:creationId xmlns:a16="http://schemas.microsoft.com/office/drawing/2014/main" id="{8FC09771-450A-4C30-BC98-F76B81A6E6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8156" y="208403"/>
            <a:ext cx="4211409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700">
                <a:solidFill>
                  <a:schemeClr val="tx1"/>
                </a:solidFill>
                <a:latin typeface="Myriad Pro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chemeClr val="tx1"/>
                </a:solidFill>
                <a:latin typeface="Myriad Pro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Myriad Pro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Myriad Pro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Myriad Pro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Myriad Pro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Myriad Pro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Myriad Pro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Myriad Pro" pitchFamily="34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/CRMAs in Hutan 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</a:t>
            </a:r>
            <a:r>
              <a:rPr kumimoji="0" lang="en-US" alt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apan </a:t>
            </a:r>
          </a:p>
        </p:txBody>
      </p:sp>
      <p:sp>
        <p:nvSpPr>
          <p:cNvPr id="8195" name="TextBox 6">
            <a:extLst>
              <a:ext uri="{FF2B5EF4-FFF2-40B4-BE49-F238E27FC236}">
                <a16:creationId xmlns:a16="http://schemas.microsoft.com/office/drawing/2014/main" id="{2B1BA7D1-48B6-49AA-946B-8BFA4F16A7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4168" y="1203598"/>
            <a:ext cx="2577852" cy="2462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5613" indent="-4556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41710" marR="0" lvl="0" indent="-34171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sv-SE" altLang="en-US" sz="1400" dirty="0">
                <a:solidFill>
                  <a:srgbClr val="000000"/>
                </a:solidFill>
                <a:latin typeface="Myriad Pro" pitchFamily="34" charset="0"/>
              </a:rPr>
              <a:t>There are</a:t>
            </a:r>
            <a:r>
              <a:rPr kumimoji="0" lang="sv-S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yriad Pro" pitchFamily="34" charset="0"/>
                <a:ea typeface="+mn-ea"/>
                <a:cs typeface="+mn-cs"/>
              </a:rPr>
              <a:t>14 CRMAs </a:t>
            </a:r>
            <a:r>
              <a:rPr lang="sv-SE" altLang="en-US" sz="1400" dirty="0">
                <a:solidFill>
                  <a:srgbClr val="000000"/>
                </a:solidFill>
                <a:latin typeface="Myriad Pro" pitchFamily="34" charset="0"/>
              </a:rPr>
              <a:t>totaling</a:t>
            </a:r>
            <a:r>
              <a:rPr kumimoji="0" lang="sv-S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yriad Pro" pitchFamily="34" charset="0"/>
                <a:ea typeface="+mn-ea"/>
                <a:cs typeface="+mn-cs"/>
              </a:rPr>
              <a:t> 6,169.26 ha with 506 </a:t>
            </a:r>
            <a:r>
              <a:rPr lang="sv-SE" altLang="en-US" sz="1400" dirty="0">
                <a:solidFill>
                  <a:srgbClr val="000000"/>
                </a:solidFill>
                <a:latin typeface="Myriad Pro" pitchFamily="34" charset="0"/>
              </a:rPr>
              <a:t>households</a:t>
            </a:r>
            <a:r>
              <a:rPr kumimoji="0" lang="sv-S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yriad Pro" pitchFamily="34" charset="0"/>
                <a:ea typeface="+mn-ea"/>
                <a:cs typeface="+mn-cs"/>
              </a:rPr>
              <a:t>)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 Pro" pitchFamily="34" charset="0"/>
              <a:ea typeface="+mn-ea"/>
              <a:cs typeface="+mn-cs"/>
            </a:endParaRPr>
          </a:p>
          <a:p>
            <a:pPr marL="341710" marR="0" lvl="0" indent="-34171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yriad Pro" pitchFamily="34" charset="0"/>
                <a:ea typeface="+mn-ea"/>
                <a:cs typeface="+mn-cs"/>
              </a:rPr>
              <a:t>6 CRMAs are being negotiated (77 households)</a:t>
            </a:r>
          </a:p>
          <a:p>
            <a:pPr marL="341710" marR="0" lvl="0" indent="-34171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altLang="en-US" sz="1400" dirty="0">
                <a:solidFill>
                  <a:srgbClr val="000000"/>
                </a:solidFill>
                <a:latin typeface="Myriad Pro" pitchFamily="34" charset="0"/>
              </a:rPr>
              <a:t>1 VRMA has agreement, </a:t>
            </a:r>
            <a:r>
              <a:rPr lang="en-US" altLang="en-US" sz="1400" dirty="0" err="1">
                <a:solidFill>
                  <a:srgbClr val="000000"/>
                </a:solidFill>
                <a:latin typeface="Myriad Pro" pitchFamily="34" charset="0"/>
              </a:rPr>
              <a:t>Bungku</a:t>
            </a:r>
            <a:r>
              <a:rPr lang="en-US" altLang="en-US" sz="1400" dirty="0">
                <a:solidFill>
                  <a:srgbClr val="000000"/>
                </a:solidFill>
                <a:latin typeface="Myriad Pro" pitchFamily="34" charset="0"/>
              </a:rPr>
              <a:t> village</a:t>
            </a:r>
          </a:p>
          <a:p>
            <a:pPr marL="341710" marR="0" lvl="0" indent="-34171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altLang="en-US" sz="1400" dirty="0">
                <a:solidFill>
                  <a:srgbClr val="000000"/>
                </a:solidFill>
                <a:latin typeface="Myriad Pro" pitchFamily="34" charset="0"/>
              </a:rPr>
              <a:t>2 VRMAs being explored with villages </a:t>
            </a:r>
            <a:r>
              <a:rPr lang="en-US" altLang="en-US" sz="1400" dirty="0" err="1">
                <a:solidFill>
                  <a:srgbClr val="000000"/>
                </a:solidFill>
                <a:latin typeface="Myriad Pro" pitchFamily="34" charset="0"/>
              </a:rPr>
              <a:t>Sepintun</a:t>
            </a:r>
            <a:r>
              <a:rPr lang="en-US" altLang="en-US" sz="1400" dirty="0">
                <a:solidFill>
                  <a:srgbClr val="000000"/>
                </a:solidFill>
                <a:latin typeface="Myriad Pro" pitchFamily="34" charset="0"/>
              </a:rPr>
              <a:t> and Sako Suban 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 Pro" pitchFamily="34" charset="0"/>
              <a:ea typeface="+mn-ea"/>
              <a:cs typeface="+mn-cs"/>
            </a:endParaRPr>
          </a:p>
        </p:txBody>
      </p:sp>
      <p:pic>
        <p:nvPicPr>
          <p:cNvPr id="8196" name="Picture 3">
            <a:extLst>
              <a:ext uri="{FF2B5EF4-FFF2-40B4-BE49-F238E27FC236}">
                <a16:creationId xmlns:a16="http://schemas.microsoft.com/office/drawing/2014/main" id="{9028FABD-BA65-4542-A2C9-7A6E244DE9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0"/>
          <a:stretch>
            <a:fillRect/>
          </a:stretch>
        </p:blipFill>
        <p:spPr bwMode="auto">
          <a:xfrm>
            <a:off x="488156" y="740716"/>
            <a:ext cx="5596012" cy="3847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514350" y="1351307"/>
            <a:ext cx="917765" cy="917765"/>
            <a:chOff x="0" y="0"/>
            <a:chExt cx="812800" cy="8128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3A1750">
                    <a:alpha val="100000"/>
                  </a:srgbClr>
                </a:gs>
                <a:gs pos="100000">
                  <a:srgbClr val="5C1C84">
                    <a:alpha val="100000"/>
                  </a:srgbClr>
                </a:gs>
              </a:gsLst>
              <a:lin ang="0"/>
            </a:gra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sp>
        <p:nvSpPr>
          <p:cNvPr id="5" name="AutoShape 5"/>
          <p:cNvSpPr/>
          <p:nvPr/>
        </p:nvSpPr>
        <p:spPr>
          <a:xfrm>
            <a:off x="973232" y="2269072"/>
            <a:ext cx="0" cy="1341896"/>
          </a:xfrm>
          <a:prstGeom prst="line">
            <a:avLst/>
          </a:prstGeom>
          <a:ln w="95250" cap="flat">
            <a:solidFill>
              <a:srgbClr val="049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grpSp>
        <p:nvGrpSpPr>
          <p:cNvPr id="6" name="Group 6"/>
          <p:cNvGrpSpPr/>
          <p:nvPr/>
        </p:nvGrpSpPr>
        <p:grpSpPr>
          <a:xfrm>
            <a:off x="514350" y="2499473"/>
            <a:ext cx="917765" cy="917765"/>
            <a:chOff x="0" y="0"/>
            <a:chExt cx="812800" cy="8128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3A1750">
                    <a:alpha val="100000"/>
                  </a:srgbClr>
                </a:gs>
                <a:gs pos="100000">
                  <a:srgbClr val="5C1C84">
                    <a:alpha val="100000"/>
                  </a:srgbClr>
                </a:gs>
              </a:gsLst>
              <a:lin ang="0"/>
            </a:gra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8" name="TextBox 8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514349" y="3604529"/>
            <a:ext cx="917765" cy="917765"/>
            <a:chOff x="0" y="0"/>
            <a:chExt cx="812800" cy="81280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3A1750">
                    <a:alpha val="100000"/>
                  </a:srgbClr>
                </a:gs>
                <a:gs pos="100000">
                  <a:srgbClr val="5C1C84">
                    <a:alpha val="100000"/>
                  </a:srgbClr>
                </a:gs>
              </a:gsLst>
              <a:lin ang="0"/>
            </a:gra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11" name="TextBox 11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sp>
        <p:nvSpPr>
          <p:cNvPr id="14" name="Freeform 14"/>
          <p:cNvSpPr/>
          <p:nvPr/>
        </p:nvSpPr>
        <p:spPr>
          <a:xfrm>
            <a:off x="651254" y="3925991"/>
            <a:ext cx="643957" cy="527240"/>
          </a:xfrm>
          <a:custGeom>
            <a:avLst/>
            <a:gdLst/>
            <a:ahLst/>
            <a:cxnLst/>
            <a:rect l="l" t="t" r="r" b="b"/>
            <a:pathLst>
              <a:path w="1287913" h="1054479">
                <a:moveTo>
                  <a:pt x="0" y="0"/>
                </a:moveTo>
                <a:lnTo>
                  <a:pt x="1287913" y="0"/>
                </a:lnTo>
                <a:lnTo>
                  <a:pt x="1287913" y="1054479"/>
                </a:lnTo>
                <a:lnTo>
                  <a:pt x="0" y="1054479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grpSp>
        <p:nvGrpSpPr>
          <p:cNvPr id="15" name="Group 15"/>
          <p:cNvGrpSpPr/>
          <p:nvPr/>
        </p:nvGrpSpPr>
        <p:grpSpPr>
          <a:xfrm>
            <a:off x="4337900" y="1351307"/>
            <a:ext cx="4621530" cy="3031366"/>
            <a:chOff x="0" y="0"/>
            <a:chExt cx="3261235" cy="2546773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3261235" cy="2546773"/>
            </a:xfrm>
            <a:custGeom>
              <a:avLst/>
              <a:gdLst/>
              <a:ahLst/>
              <a:cxnLst/>
              <a:rect l="l" t="t" r="r" b="b"/>
              <a:pathLst>
                <a:path w="3261235" h="2546773">
                  <a:moveTo>
                    <a:pt x="60022" y="0"/>
                  </a:moveTo>
                  <a:lnTo>
                    <a:pt x="3201213" y="0"/>
                  </a:lnTo>
                  <a:cubicBezTo>
                    <a:pt x="3217131" y="0"/>
                    <a:pt x="3232398" y="6324"/>
                    <a:pt x="3243655" y="17580"/>
                  </a:cubicBezTo>
                  <a:cubicBezTo>
                    <a:pt x="3254911" y="28836"/>
                    <a:pt x="3261235" y="44103"/>
                    <a:pt x="3261235" y="60022"/>
                  </a:cubicBezTo>
                  <a:lnTo>
                    <a:pt x="3261235" y="2486751"/>
                  </a:lnTo>
                  <a:cubicBezTo>
                    <a:pt x="3261235" y="2519901"/>
                    <a:pt x="3234362" y="2546773"/>
                    <a:pt x="3201213" y="2546773"/>
                  </a:cubicBezTo>
                  <a:lnTo>
                    <a:pt x="60022" y="2546773"/>
                  </a:lnTo>
                  <a:cubicBezTo>
                    <a:pt x="26873" y="2546773"/>
                    <a:pt x="0" y="2519901"/>
                    <a:pt x="0" y="2486751"/>
                  </a:cubicBezTo>
                  <a:lnTo>
                    <a:pt x="0" y="60022"/>
                  </a:lnTo>
                  <a:cubicBezTo>
                    <a:pt x="0" y="26873"/>
                    <a:pt x="26873" y="0"/>
                    <a:pt x="60022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29D94">
                    <a:alpha val="100000"/>
                  </a:srgbClr>
                </a:gs>
                <a:gs pos="100000">
                  <a:srgbClr val="0C746E">
                    <a:alpha val="100000"/>
                  </a:srgbClr>
                </a:gs>
              </a:gsLst>
              <a:lin ang="0"/>
            </a:gra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17" name="TextBox 17"/>
            <p:cNvSpPr txBox="1"/>
            <p:nvPr/>
          </p:nvSpPr>
          <p:spPr>
            <a:xfrm>
              <a:off x="0" y="-57150"/>
              <a:ext cx="3261235" cy="2603923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5D57518-F5A2-C7CC-04BA-168ADA961D6E}"/>
              </a:ext>
            </a:extLst>
          </p:cNvPr>
          <p:cNvGrpSpPr/>
          <p:nvPr/>
        </p:nvGrpSpPr>
        <p:grpSpPr>
          <a:xfrm>
            <a:off x="-6846" y="-800"/>
            <a:ext cx="3308139" cy="1186325"/>
            <a:chOff x="-6846" y="-799"/>
            <a:chExt cx="3308139" cy="1160952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3301293" cy="1160153"/>
            </a:xfrm>
            <a:custGeom>
              <a:avLst/>
              <a:gdLst/>
              <a:ahLst/>
              <a:cxnLst/>
              <a:rect l="l" t="t" r="r" b="b"/>
              <a:pathLst>
                <a:path w="776329" h="197496">
                  <a:moveTo>
                    <a:pt x="217426" y="0"/>
                  </a:moveTo>
                  <a:lnTo>
                    <a:pt x="762104" y="0"/>
                  </a:lnTo>
                  <a:cubicBezTo>
                    <a:pt x="767467" y="0"/>
                    <a:pt x="772295" y="3251"/>
                    <a:pt x="774312" y="8221"/>
                  </a:cubicBezTo>
                  <a:cubicBezTo>
                    <a:pt x="776330" y="13190"/>
                    <a:pt x="775133" y="18886"/>
                    <a:pt x="771287" y="22624"/>
                  </a:cubicBezTo>
                  <a:lnTo>
                    <a:pt x="614643" y="174872"/>
                  </a:lnTo>
                  <a:cubicBezTo>
                    <a:pt x="599716" y="189380"/>
                    <a:pt x="579720" y="197496"/>
                    <a:pt x="558904" y="197496"/>
                  </a:cubicBezTo>
                  <a:lnTo>
                    <a:pt x="14226" y="197496"/>
                  </a:lnTo>
                  <a:cubicBezTo>
                    <a:pt x="8863" y="197496"/>
                    <a:pt x="4035" y="194245"/>
                    <a:pt x="2018" y="189276"/>
                  </a:cubicBezTo>
                  <a:cubicBezTo>
                    <a:pt x="0" y="184306"/>
                    <a:pt x="1197" y="178610"/>
                    <a:pt x="5043" y="174872"/>
                  </a:cubicBezTo>
                  <a:lnTo>
                    <a:pt x="161687" y="22624"/>
                  </a:lnTo>
                  <a:cubicBezTo>
                    <a:pt x="176614" y="8116"/>
                    <a:pt x="196610" y="0"/>
                    <a:pt x="217426" y="0"/>
                  </a:cubicBezTo>
                  <a:close/>
                </a:path>
              </a:pathLst>
            </a:custGeom>
            <a:gradFill>
              <a:gsLst>
                <a:gs pos="0">
                  <a:srgbClr val="002060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21" name="TextBox 21"/>
            <p:cNvSpPr txBox="1"/>
            <p:nvPr/>
          </p:nvSpPr>
          <p:spPr>
            <a:xfrm>
              <a:off x="-6846" y="-799"/>
              <a:ext cx="2418605" cy="1160153"/>
            </a:xfrm>
            <a:prstGeom prst="rect">
              <a:avLst/>
            </a:prstGeom>
            <a:gradFill>
              <a:gsLst>
                <a:gs pos="0">
                  <a:srgbClr val="002060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sp>
        <p:nvSpPr>
          <p:cNvPr id="22" name="TextBox 22"/>
          <p:cNvSpPr txBox="1"/>
          <p:nvPr/>
        </p:nvSpPr>
        <p:spPr>
          <a:xfrm>
            <a:off x="4353214" y="849834"/>
            <a:ext cx="4621530" cy="4910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384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99" b="1" i="0" u="none" strike="noStrike" kern="1200" cap="none" spc="0" normalizeH="0" baseline="0" noProof="0" dirty="0">
                <a:ln>
                  <a:noFill/>
                </a:ln>
                <a:solidFill>
                  <a:srgbClr val="04968D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CRMA DASHBOARD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1563416" y="1409844"/>
            <a:ext cx="2580238" cy="1795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35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BATIN SEMBILAN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1540320" y="2483842"/>
            <a:ext cx="2515599" cy="1795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35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Migrant and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Melayu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Bold"/>
              <a:ea typeface="Poppins Bold"/>
              <a:cs typeface="Poppins Bold"/>
              <a:sym typeface="Poppins Bold"/>
            </a:endParaRPr>
          </a:p>
        </p:txBody>
      </p:sp>
      <p:sp>
        <p:nvSpPr>
          <p:cNvPr id="25" name="TextBox 25"/>
          <p:cNvSpPr txBox="1"/>
          <p:nvPr/>
        </p:nvSpPr>
        <p:spPr>
          <a:xfrm>
            <a:off x="1572637" y="3531960"/>
            <a:ext cx="2207273" cy="1795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35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Bold"/>
                <a:ea typeface="Poppins Bold"/>
                <a:cs typeface="Poppins Bold"/>
                <a:sym typeface="Poppins Bold"/>
              </a:rPr>
              <a:t>CRMAs Under Negotiation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1581834" y="1604382"/>
            <a:ext cx="2660386" cy="4274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ts val="109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S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igne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CRMAs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6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</a:t>
            </a:r>
          </a:p>
          <a:p>
            <a:pPr marL="171450" marR="0" lvl="0" indent="-171450" defTabSz="914400" rtl="0" eaLnBrk="1" fontAlgn="auto" latinLnBrk="0" hangingPunct="1">
              <a:lnSpc>
                <a:spcPts val="109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P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articipating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 households: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240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</a:t>
            </a:r>
          </a:p>
          <a:p>
            <a:pPr marL="171450" marR="0" lvl="0" indent="-171450" defTabSz="914400" rtl="0" eaLnBrk="1" fontAlgn="auto" latinLnBrk="0" hangingPunct="1">
              <a:lnSpc>
                <a:spcPts val="109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Total  area: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5,213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Ha 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1569232" y="2688170"/>
            <a:ext cx="2660386" cy="4274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ts val="109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Si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gne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CRMAs: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8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171450" marR="0" lvl="0" indent="-171450" defTabSz="914400" rtl="0" eaLnBrk="1" fontAlgn="auto" latinLnBrk="0" hangingPunct="1">
              <a:lnSpc>
                <a:spcPts val="109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P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articipating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households: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266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171450" marR="0" lvl="0" indent="-171450" defTabSz="914400" rtl="0" eaLnBrk="1" fontAlgn="auto" latinLnBrk="0" hangingPunct="1">
              <a:lnSpc>
                <a:spcPts val="109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Total area: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956.46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Ha 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1535678" y="3771958"/>
            <a:ext cx="2607976" cy="709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ts val="109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Totals CRMAs under negotiation: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9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171450" marR="0" lvl="0" indent="-171450" defTabSz="914400" rtl="0" eaLnBrk="1" fontAlgn="auto" latinLnBrk="0" hangingPunct="1">
              <a:lnSpc>
                <a:spcPts val="109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3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Batin,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5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Migrant and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1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Melayu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171450" marR="0" lvl="0" indent="-171450" defTabSz="914400" rtl="0" eaLnBrk="1" fontAlgn="auto" latinLnBrk="0" hangingPunct="1">
              <a:lnSpc>
                <a:spcPts val="109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Approximate number of households: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232</a:t>
            </a:r>
          </a:p>
          <a:p>
            <a:pPr marL="0" marR="0" lvl="0" indent="0" defTabSz="914400" rtl="0" eaLnBrk="1" fontAlgn="auto" latinLnBrk="0" hangingPunct="1">
              <a:lnSpc>
                <a:spcPts val="109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29" name="TextBox 29"/>
          <p:cNvSpPr txBox="1"/>
          <p:nvPr/>
        </p:nvSpPr>
        <p:spPr>
          <a:xfrm>
            <a:off x="4572000" y="1635139"/>
            <a:ext cx="4057650" cy="20915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ts val="17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12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just" defTabSz="914400" rtl="0" eaLnBrk="1" fontAlgn="auto" latinLnBrk="0" hangingPunct="1">
              <a:lnSpc>
                <a:spcPts val="17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CRMAS SIGNED</a:t>
            </a:r>
          </a:p>
          <a:p>
            <a:pPr marL="0" marR="0" lvl="0" indent="0" algn="just" defTabSz="914400" rtl="0" eaLnBrk="1" fontAlgn="auto" latinLnBrk="0" hangingPunct="1">
              <a:lnSpc>
                <a:spcPts val="17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285750" marR="0" lvl="0" indent="-285750" algn="just" defTabSz="914400" rtl="0" eaLnBrk="1" fontAlgn="auto" latinLnBrk="0" hangingPunct="1">
              <a:lnSpc>
                <a:spcPts val="17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Signed CRMAS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14</a:t>
            </a:r>
          </a:p>
          <a:p>
            <a:pPr marL="0" marR="0" lvl="0" indent="0" algn="just" defTabSz="914400" rtl="0" eaLnBrk="1" fontAlgn="auto" latinLnBrk="0" hangingPunct="1">
              <a:lnSpc>
                <a:spcPts val="17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ts val="17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Poppins"/>
                <a:ea typeface="Poppins"/>
                <a:cs typeface="Poppins"/>
                <a:sym typeface="Poppins"/>
              </a:rPr>
              <a:t>Pa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rticipat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households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506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285750" marR="0" lvl="0" indent="-285750" algn="just" defTabSz="914400" rtl="0" eaLnBrk="1" fontAlgn="auto" latinLnBrk="0" hangingPunct="1">
              <a:lnSpc>
                <a:spcPts val="17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285750" marR="0" lvl="0" indent="-285750" algn="just" defTabSz="914400" rtl="0" eaLnBrk="1" fontAlgn="auto" latinLnBrk="0" hangingPunct="1">
              <a:lnSpc>
                <a:spcPts val="17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Total area covered by CRMAs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6,169.46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 Ha</a:t>
            </a:r>
          </a:p>
        </p:txBody>
      </p:sp>
      <p:grpSp>
        <p:nvGrpSpPr>
          <p:cNvPr id="30" name="Group 30"/>
          <p:cNvGrpSpPr/>
          <p:nvPr/>
        </p:nvGrpSpPr>
        <p:grpSpPr>
          <a:xfrm>
            <a:off x="1987541" y="225813"/>
            <a:ext cx="505615" cy="505615"/>
            <a:chOff x="0" y="0"/>
            <a:chExt cx="812800" cy="812800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29D94">
                    <a:alpha val="100000"/>
                  </a:srgbClr>
                </a:gs>
                <a:gs pos="100000">
                  <a:srgbClr val="0C746E">
                    <a:alpha val="100000"/>
                  </a:srgbClr>
                </a:gs>
              </a:gsLst>
              <a:lin ang="0"/>
            </a:gra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  <p:sp>
          <p:nvSpPr>
            <p:cNvPr id="32" name="TextBox 32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A8B8CC60-2283-7560-2796-E473267ECF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498" y="2708736"/>
            <a:ext cx="689809" cy="51837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3106A9C-6079-6914-AA3A-67EA86449B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123" y="1521428"/>
            <a:ext cx="718047" cy="53570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A5C5B73-6E90-5E54-EEA7-59B5FCAB42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300" y="51470"/>
            <a:ext cx="7355160" cy="605222"/>
          </a:xfrm>
        </p:spPr>
        <p:txBody>
          <a:bodyPr>
            <a:normAutofit/>
          </a:bodyPr>
          <a:lstStyle/>
          <a:p>
            <a:pPr algn="l"/>
            <a:r>
              <a:rPr lang="en-ID" sz="28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munity Livelihood Development</a:t>
            </a:r>
            <a:endParaRPr lang="en-ID" sz="28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7F9460A-9637-19DB-D859-B75256186D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990" y="656692"/>
            <a:ext cx="4784090" cy="378726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T REKI has taken concrete action to empower local communities and help them to become self-reliant. </a:t>
            </a:r>
          </a:p>
          <a:p>
            <a:pPr marL="0" indent="0">
              <a:buNone/>
            </a:pPr>
            <a:r>
              <a:rPr lang="en-US" sz="11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y initiatives include: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44500" lvl="1" indent="-266700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pport for community development and respect for community rights, in line the company’s Human Rights policy</a:t>
            </a:r>
          </a:p>
          <a:p>
            <a:pPr marL="444500" lvl="1" indent="-266700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ild community partnerships through the establishment of Village/Community Resource Management Agreements (V/CRMAs) also known as Farmer Group Agreements (KTH) which provide land security  </a:t>
            </a:r>
          </a:p>
          <a:p>
            <a:pPr marL="444500" lvl="1" indent="-266700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pport community economic development through establishment of cooperatives, agroforestry, employment as Community Wardens</a:t>
            </a:r>
          </a:p>
          <a:p>
            <a:pPr marL="444500" lvl="1" indent="-266700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ining in Good Agricultural Practices (GAP)</a:t>
            </a:r>
          </a:p>
          <a:p>
            <a:pPr marL="444500" lvl="1" indent="-266700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l Literacy</a:t>
            </a:r>
          </a:p>
          <a:p>
            <a:pPr marL="444500" lvl="1" indent="-266700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mote primary school education</a:t>
            </a:r>
          </a:p>
          <a:p>
            <a:pPr marL="444500" lvl="1" indent="-266700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mote access to primary healthcare</a:t>
            </a:r>
          </a:p>
          <a:p>
            <a:pPr marL="444500" lvl="1" indent="-266700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mote reproductive rights </a:t>
            </a:r>
          </a:p>
          <a:p>
            <a:pPr marL="444500" lvl="1" indent="-266700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mote equal opportunities to men and women</a:t>
            </a:r>
            <a:endParaRPr lang="en-ID" sz="11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 descr="A person holding a net&#10;&#10;AI-generated content may be incorrect.">
            <a:extLst>
              <a:ext uri="{FF2B5EF4-FFF2-40B4-BE49-F238E27FC236}">
                <a16:creationId xmlns:a16="http://schemas.microsoft.com/office/drawing/2014/main" id="{07EA1270-C9B7-0651-0BC9-AC144BCFBC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121" y="2571750"/>
            <a:ext cx="2843808" cy="2548207"/>
          </a:xfrm>
          <a:prstGeom prst="rect">
            <a:avLst/>
          </a:prstGeom>
        </p:spPr>
      </p:pic>
      <p:pic>
        <p:nvPicPr>
          <p:cNvPr id="7" name="Picture 6" descr="A green plants in a garden&#10;&#10;AI-generated content may be incorrect.">
            <a:extLst>
              <a:ext uri="{FF2B5EF4-FFF2-40B4-BE49-F238E27FC236}">
                <a16:creationId xmlns:a16="http://schemas.microsoft.com/office/drawing/2014/main" id="{9E91F7A8-0900-EF7E-C718-EE9D56F257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-55256"/>
            <a:ext cx="2843808" cy="262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9965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D3A9B1-13E5-5A73-0F5E-3FA19D143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2" y="195486"/>
            <a:ext cx="6491063" cy="936104"/>
          </a:xfrm>
        </p:spPr>
        <p:txBody>
          <a:bodyPr/>
          <a:lstStyle/>
          <a:p>
            <a:pPr algn="l"/>
            <a:r>
              <a:rPr lang="en-US" sz="2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MA Update</a:t>
            </a:r>
            <a:endParaRPr lang="en-ID" sz="28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AE5F4B-37A4-FCFD-FA0A-AD1310FCC8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564" y="879562"/>
            <a:ext cx="8229600" cy="3564396"/>
          </a:xfrm>
        </p:spPr>
        <p:txBody>
          <a:bodyPr/>
          <a:lstStyle/>
          <a:p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T REKI has delayed the signing of two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U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ecause it is not clear whether they will be recognized by the government given the existence of the Forest Area Enforcement Taskforce (PKH).</a:t>
            </a:r>
          </a:p>
          <a:p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 the same time 5 number of community groups/individuals with 155 households and 688 ha have approached PT REKI enquiring whether they can sign a MoU with the company.</a:t>
            </a:r>
          </a:p>
          <a:p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Tanjung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ndiri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where the PKH has declared an area of over 7,000 ha under its supervision, it appears buying and selling of land has declined due to the presence of PKH.</a:t>
            </a:r>
          </a:p>
          <a:p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s is not the case however in the north where buying and selling of land is still taking place.</a:t>
            </a:r>
          </a:p>
          <a:p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re have been attempts by groups to open land along the coal road.   </a:t>
            </a:r>
            <a:endParaRPr lang="en-ID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870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B3F59054-3394-4D87-8BD0-A28DCD47F1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group of plants in a garden&#10;&#10;AI-generated content may be incorrect.">
            <a:extLst>
              <a:ext uri="{FF2B5EF4-FFF2-40B4-BE49-F238E27FC236}">
                <a16:creationId xmlns:a16="http://schemas.microsoft.com/office/drawing/2014/main" id="{AFC7BE7F-898F-0366-9891-C62DB9B8BE8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536239" y="10"/>
            <a:ext cx="3607761" cy="5143490"/>
          </a:xfrm>
          <a:custGeom>
            <a:avLst/>
            <a:gdLst/>
            <a:ahLst/>
            <a:cxnLst/>
            <a:rect l="l" t="t" r="r" b="b"/>
            <a:pathLst>
              <a:path w="4817171" h="6858000">
                <a:moveTo>
                  <a:pt x="22751" y="0"/>
                </a:moveTo>
                <a:lnTo>
                  <a:pt x="4817171" y="0"/>
                </a:lnTo>
                <a:lnTo>
                  <a:pt x="4817171" y="6858000"/>
                </a:lnTo>
                <a:lnTo>
                  <a:pt x="0" y="6858000"/>
                </a:lnTo>
                <a:lnTo>
                  <a:pt x="6679" y="6845555"/>
                </a:lnTo>
                <a:cubicBezTo>
                  <a:pt x="496584" y="5886487"/>
                  <a:pt x="786702" y="4695963"/>
                  <a:pt x="786702" y="3406233"/>
                </a:cubicBezTo>
                <a:cubicBezTo>
                  <a:pt x="786702" y="2215714"/>
                  <a:pt x="539501" y="1109724"/>
                  <a:pt x="116147" y="192283"/>
                </a:cubicBezTo>
                <a:close/>
              </a:path>
            </a:pathLst>
          </a:custGeom>
        </p:spPr>
      </p:pic>
      <p:pic>
        <p:nvPicPr>
          <p:cNvPr id="9" name="Picture 8" descr="A group of people sitting on a blue tarp in the woods&#10;&#10;AI-generated content may be incorrect.">
            <a:extLst>
              <a:ext uri="{FF2B5EF4-FFF2-40B4-BE49-F238E27FC236}">
                <a16:creationId xmlns:a16="http://schemas.microsoft.com/office/drawing/2014/main" id="{DE1D91CE-FD1A-621F-5CB1-189382D977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" b="-2"/>
          <a:stretch>
            <a:fillRect/>
          </a:stretch>
        </p:blipFill>
        <p:spPr>
          <a:xfrm>
            <a:off x="2352291" y="10"/>
            <a:ext cx="3734478" cy="2551166"/>
          </a:xfrm>
          <a:custGeom>
            <a:avLst/>
            <a:gdLst/>
            <a:ahLst/>
            <a:cxnLst/>
            <a:rect l="l" t="t" r="r" b="b"/>
            <a:pathLst>
              <a:path w="4979304" h="3364992">
                <a:moveTo>
                  <a:pt x="0" y="0"/>
                </a:moveTo>
                <a:lnTo>
                  <a:pt x="4211250" y="0"/>
                </a:lnTo>
                <a:lnTo>
                  <a:pt x="4309461" y="192282"/>
                </a:lnTo>
                <a:cubicBezTo>
                  <a:pt x="4697535" y="1033269"/>
                  <a:pt x="4937593" y="2032690"/>
                  <a:pt x="4974907" y="3110424"/>
                </a:cubicBezTo>
                <a:lnTo>
                  <a:pt x="4979304" y="3364992"/>
                </a:lnTo>
                <a:lnTo>
                  <a:pt x="800592" y="3364992"/>
                </a:lnTo>
                <a:lnTo>
                  <a:pt x="797493" y="3185579"/>
                </a:lnTo>
                <a:cubicBezTo>
                  <a:pt x="756786" y="2009870"/>
                  <a:pt x="474799" y="927359"/>
                  <a:pt x="22579" y="42066"/>
                </a:cubicBezTo>
                <a:close/>
              </a:path>
            </a:pathLst>
          </a:custGeom>
        </p:spPr>
      </p:pic>
      <p:pic>
        <p:nvPicPr>
          <p:cNvPr id="7" name="Picture 6" descr="A person standing in a garden&#10;&#10;AI-generated content may be incorrect.">
            <a:extLst>
              <a:ext uri="{FF2B5EF4-FFF2-40B4-BE49-F238E27FC236}">
                <a16:creationId xmlns:a16="http://schemas.microsoft.com/office/drawing/2014/main" id="{3487E8DF-9772-BFAB-66CB-E33FB59BA89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392071" y="2592324"/>
            <a:ext cx="3694109" cy="2551176"/>
          </a:xfrm>
          <a:custGeom>
            <a:avLst/>
            <a:gdLst/>
            <a:ahLst/>
            <a:cxnLst/>
            <a:rect l="l" t="t" r="r" b="b"/>
            <a:pathLst>
              <a:path w="4925479" h="3364992">
                <a:moveTo>
                  <a:pt x="749362" y="0"/>
                </a:moveTo>
                <a:lnTo>
                  <a:pt x="4925479" y="0"/>
                </a:lnTo>
                <a:lnTo>
                  <a:pt x="4921868" y="209033"/>
                </a:lnTo>
                <a:cubicBezTo>
                  <a:pt x="4884554" y="1286766"/>
                  <a:pt x="4644496" y="2286187"/>
                  <a:pt x="4256422" y="3127175"/>
                </a:cubicBezTo>
                <a:lnTo>
                  <a:pt x="4134952" y="3364992"/>
                </a:lnTo>
                <a:lnTo>
                  <a:pt x="0" y="3364992"/>
                </a:lnTo>
                <a:lnTo>
                  <a:pt x="79008" y="3202330"/>
                </a:lnTo>
                <a:cubicBezTo>
                  <a:pt x="467082" y="2361343"/>
                  <a:pt x="707140" y="1361922"/>
                  <a:pt x="744454" y="284189"/>
                </a:cubicBezTo>
                <a:close/>
              </a:path>
            </a:pathLst>
          </a:custGeom>
        </p:spPr>
      </p:pic>
      <p:sp useBgFill="1">
        <p:nvSpPr>
          <p:cNvPr id="27" name="Freeform: Shape 26">
            <a:extLst>
              <a:ext uri="{FF2B5EF4-FFF2-40B4-BE49-F238E27FC236}">
                <a16:creationId xmlns:a16="http://schemas.microsoft.com/office/drawing/2014/main" id="{2FE0ABA9-CAF1-4816-837D-5F28AAA08E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959361" cy="5143500"/>
          </a:xfrm>
          <a:custGeom>
            <a:avLst/>
            <a:gdLst>
              <a:gd name="connsiteX0" fmla="*/ 0 w 3945815"/>
              <a:gd name="connsiteY0" fmla="*/ 0 h 6858000"/>
              <a:gd name="connsiteX1" fmla="*/ 3138662 w 3945815"/>
              <a:gd name="connsiteY1" fmla="*/ 0 h 6858000"/>
              <a:gd name="connsiteX2" fmla="*/ 3275260 w 3945815"/>
              <a:gd name="connsiteY2" fmla="*/ 267438 h 6858000"/>
              <a:gd name="connsiteX3" fmla="*/ 3945815 w 3945815"/>
              <a:gd name="connsiteY3" fmla="*/ 3481388 h 6858000"/>
              <a:gd name="connsiteX4" fmla="*/ 3275260 w 3945815"/>
              <a:gd name="connsiteY4" fmla="*/ 6695338 h 6858000"/>
              <a:gd name="connsiteX5" fmla="*/ 3192177 w 3945815"/>
              <a:gd name="connsiteY5" fmla="*/ 6858000 h 6858000"/>
              <a:gd name="connsiteX6" fmla="*/ 0 w 394581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45815" h="6858000">
                <a:moveTo>
                  <a:pt x="0" y="0"/>
                </a:moveTo>
                <a:lnTo>
                  <a:pt x="3138662" y="0"/>
                </a:lnTo>
                <a:lnTo>
                  <a:pt x="3275260" y="267438"/>
                </a:lnTo>
                <a:cubicBezTo>
                  <a:pt x="3698614" y="1184879"/>
                  <a:pt x="3945815" y="2290869"/>
                  <a:pt x="3945815" y="3481388"/>
                </a:cubicBezTo>
                <a:cubicBezTo>
                  <a:pt x="3945815" y="4671908"/>
                  <a:pt x="3698614" y="5777898"/>
                  <a:pt x="3275260" y="6695338"/>
                </a:cubicBezTo>
                <a:lnTo>
                  <a:pt x="3192177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9" name="Freeform: Shape 28">
            <a:extLst>
              <a:ext uri="{FF2B5EF4-FFF2-40B4-BE49-F238E27FC236}">
                <a16:creationId xmlns:a16="http://schemas.microsoft.com/office/drawing/2014/main" id="{BC8B9C14-70F0-4F42-85FF-0DD3D5A585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952502" cy="5143500"/>
          </a:xfrm>
          <a:custGeom>
            <a:avLst/>
            <a:gdLst>
              <a:gd name="connsiteX0" fmla="*/ 0 w 3936670"/>
              <a:gd name="connsiteY0" fmla="*/ 0 h 6858000"/>
              <a:gd name="connsiteX1" fmla="*/ 3129517 w 3936670"/>
              <a:gd name="connsiteY1" fmla="*/ 0 h 6858000"/>
              <a:gd name="connsiteX2" fmla="*/ 3266115 w 3936670"/>
              <a:gd name="connsiteY2" fmla="*/ 267438 h 6858000"/>
              <a:gd name="connsiteX3" fmla="*/ 3936670 w 3936670"/>
              <a:gd name="connsiteY3" fmla="*/ 3481388 h 6858000"/>
              <a:gd name="connsiteX4" fmla="*/ 3266115 w 3936670"/>
              <a:gd name="connsiteY4" fmla="*/ 6695338 h 6858000"/>
              <a:gd name="connsiteX5" fmla="*/ 3183032 w 3936670"/>
              <a:gd name="connsiteY5" fmla="*/ 6858000 h 6858000"/>
              <a:gd name="connsiteX6" fmla="*/ 0 w 39366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6670" h="6858000">
                <a:moveTo>
                  <a:pt x="0" y="0"/>
                </a:moveTo>
                <a:lnTo>
                  <a:pt x="3129517" y="0"/>
                </a:lnTo>
                <a:lnTo>
                  <a:pt x="3266115" y="267438"/>
                </a:lnTo>
                <a:cubicBezTo>
                  <a:pt x="3689469" y="1184879"/>
                  <a:pt x="3936670" y="2290869"/>
                  <a:pt x="3936670" y="3481388"/>
                </a:cubicBezTo>
                <a:cubicBezTo>
                  <a:pt x="3936670" y="4671908"/>
                  <a:pt x="3689469" y="5777898"/>
                  <a:pt x="3266115" y="6695338"/>
                </a:cubicBezTo>
                <a:lnTo>
                  <a:pt x="3183032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5CAA3B-A32D-419A-2200-9502D54F4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42" y="514350"/>
            <a:ext cx="2105406" cy="994172"/>
          </a:xfrm>
        </p:spPr>
        <p:txBody>
          <a:bodyPr>
            <a:normAutofit/>
          </a:bodyPr>
          <a:lstStyle/>
          <a:p>
            <a:r>
              <a:rPr lang="en-US" sz="2400" b="1" dirty="0"/>
              <a:t>Agroforestry</a:t>
            </a:r>
            <a:endParaRPr lang="en-ID" sz="2400" b="1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8DE6C44-43F8-4DE4-AB81-66853FFEA0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755142"/>
            <a:ext cx="96012" cy="49042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409529B-9B56-4F10-BE4D-F934DB89E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9184" y="1567455"/>
            <a:ext cx="2125980" cy="13716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774EF-2C26-9EE9-5B2D-7D56DA834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42" y="1693926"/>
            <a:ext cx="2363750" cy="2942082"/>
          </a:xfrm>
          <a:noFill/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sz="1300" dirty="0"/>
              <a:t>Number of participating families: 123 Households and 10 Hectares</a:t>
            </a:r>
          </a:p>
          <a:p>
            <a:pPr marL="0" indent="0">
              <a:buNone/>
            </a:pPr>
            <a:endParaRPr lang="en-US" sz="1300" dirty="0"/>
          </a:p>
          <a:p>
            <a:pPr marL="0" indent="0">
              <a:buNone/>
            </a:pPr>
            <a:r>
              <a:rPr lang="en-US" sz="1300" dirty="0"/>
              <a:t>Types of Seedlings/ equipment's distributed: </a:t>
            </a:r>
          </a:p>
          <a:p>
            <a:pPr marL="180975" indent="-180975"/>
            <a:r>
              <a:rPr lang="en-US" sz="1300" dirty="0"/>
              <a:t>2.686 seedlings of Multi-Purpose Tree Species (MPTS) for 47 Households</a:t>
            </a:r>
          </a:p>
          <a:p>
            <a:pPr marL="180975" indent="-180975"/>
            <a:r>
              <a:rPr lang="en-US" sz="1300" dirty="0"/>
              <a:t>60 packs of field crops (</a:t>
            </a:r>
            <a:r>
              <a:rPr lang="en-US" sz="1300" dirty="0" err="1"/>
              <a:t>Palawija</a:t>
            </a:r>
            <a:r>
              <a:rPr lang="en-US" sz="1300" dirty="0"/>
              <a:t> </a:t>
            </a:r>
            <a:r>
              <a:rPr lang="en-US" sz="1300" dirty="0" err="1"/>
              <a:t>Hortikultura</a:t>
            </a:r>
            <a:r>
              <a:rPr lang="en-US" sz="1300" dirty="0"/>
              <a:t>) for 16 Households</a:t>
            </a:r>
          </a:p>
          <a:p>
            <a:pPr marL="180975" indent="-180975"/>
            <a:r>
              <a:rPr lang="en-US" sz="1300" dirty="0"/>
              <a:t>78 Kg </a:t>
            </a:r>
            <a:r>
              <a:rPr lang="en-US" sz="1300" dirty="0" err="1"/>
              <a:t>deorub</a:t>
            </a:r>
            <a:r>
              <a:rPr lang="en-US" sz="1300" dirty="0"/>
              <a:t> (rubber latex freezer) for 23 Households</a:t>
            </a:r>
          </a:p>
          <a:p>
            <a:pPr marL="180975" indent="-180975"/>
            <a:r>
              <a:rPr lang="en-US" sz="1300" dirty="0"/>
              <a:t>Equipment support for  rubber </a:t>
            </a:r>
            <a:r>
              <a:rPr lang="en-US" sz="1300" dirty="0" err="1"/>
              <a:t>culitivation</a:t>
            </a:r>
            <a:r>
              <a:rPr lang="en-US" sz="1300" dirty="0"/>
              <a:t> for 28 households</a:t>
            </a:r>
          </a:p>
          <a:p>
            <a:pPr marL="180975" indent="-180975"/>
            <a:r>
              <a:rPr lang="en-US" sz="1300" dirty="0"/>
              <a:t>1.614 Kg fertilizer for 9 Household.</a:t>
            </a:r>
          </a:p>
          <a:p>
            <a:pPr marL="0" indent="0">
              <a:buNone/>
            </a:pPr>
            <a:endParaRPr lang="en-ID" sz="1300" dirty="0"/>
          </a:p>
        </p:txBody>
      </p:sp>
    </p:spTree>
    <p:extLst>
      <p:ext uri="{BB962C8B-B14F-4D97-AF65-F5344CB8AC3E}">
        <p14:creationId xmlns:p14="http://schemas.microsoft.com/office/powerpoint/2010/main" val="32413607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7D6FD0-B123-FB28-1B70-1375C0207F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E19CD1-6E95-DB16-44CB-AEE10BE952A3}"/>
              </a:ext>
            </a:extLst>
          </p:cNvPr>
          <p:cNvSpPr txBox="1"/>
          <p:nvPr/>
        </p:nvSpPr>
        <p:spPr>
          <a:xfrm>
            <a:off x="479691" y="907330"/>
            <a:ext cx="3860080" cy="362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Calibri" panose="020F0502020204030204" pitchFamily="34" charset="0"/>
                <a:cs typeface="Calibri" panose="020F0502020204030204" pitchFamily="34" charset="0"/>
              </a:rPr>
              <a:t>Micro spatial planning  process is underway in 4 CMRMAs: </a:t>
            </a:r>
          </a:p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Calibri" panose="020F0502020204030204" pitchFamily="34" charset="0"/>
                <a:cs typeface="Calibri" panose="020F0502020204030204" pitchFamily="34" charset="0"/>
              </a:rPr>
              <a:t>Data analysis and maps of forest cover, rubber plantations and housing areas</a:t>
            </a:r>
          </a:p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Calibri" panose="020F0502020204030204" pitchFamily="34" charset="0"/>
                <a:cs typeface="Calibri" panose="020F0502020204030204" pitchFamily="34" charset="0"/>
              </a:rPr>
              <a:t>Delineation of remaining forest areas based on  drone photos as protected zone areas. Garden and bush area as agricultural zone. Residential area as residential zone</a:t>
            </a:r>
          </a:p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Calibri" panose="020F0502020204030204" pitchFamily="34" charset="0"/>
                <a:cs typeface="Calibri" panose="020F0502020204030204" pitchFamily="34" charset="0"/>
              </a:rPr>
              <a:t>Field checks with Team Reki and CRMA members</a:t>
            </a:r>
          </a:p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Calibri" panose="020F0502020204030204" pitchFamily="34" charset="0"/>
                <a:cs typeface="Calibri" panose="020F0502020204030204" pitchFamily="34" charset="0"/>
              </a:rPr>
              <a:t>Agreement on micro spatial planning by CRMA and REKI</a:t>
            </a:r>
          </a:p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Calibri" panose="020F0502020204030204" pitchFamily="34" charset="0"/>
                <a:cs typeface="Calibri" panose="020F0502020204030204" pitchFamily="34" charset="0"/>
              </a:rPr>
              <a:t>Proposal for KLHK approval (RKPS)</a:t>
            </a:r>
          </a:p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Calibri" panose="020F0502020204030204" pitchFamily="34" charset="0"/>
                <a:cs typeface="Calibri" panose="020F0502020204030204" pitchFamily="34" charset="0"/>
              </a:rPr>
              <a:t>Dissemination to all members of the rights and obligations of the zoning.</a:t>
            </a:r>
          </a:p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Calibri" panose="020F0502020204030204" pitchFamily="34" charset="0"/>
                <a:cs typeface="Calibri" panose="020F0502020204030204" pitchFamily="34" charset="0"/>
              </a:rPr>
              <a:t>Build periodic monitoring of the implementation of micro spatial planning.</a:t>
            </a:r>
            <a:endParaRPr kumimoji="0" lang="en-ID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339" name="Picture 4">
            <a:extLst>
              <a:ext uri="{FF2B5EF4-FFF2-40B4-BE49-F238E27FC236}">
                <a16:creationId xmlns:a16="http://schemas.microsoft.com/office/drawing/2014/main" id="{3314C54E-3DD0-2B1D-99CE-579D111A23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83968" y="871706"/>
            <a:ext cx="4680520" cy="3716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78E41A5-577E-8875-4D4F-1E984FFA8430}"/>
              </a:ext>
            </a:extLst>
          </p:cNvPr>
          <p:cNvSpPr txBox="1"/>
          <p:nvPr/>
        </p:nvSpPr>
        <p:spPr>
          <a:xfrm>
            <a:off x="459408" y="410042"/>
            <a:ext cx="5500801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 Spatial Planning in the CRMAs</a:t>
            </a:r>
          </a:p>
        </p:txBody>
      </p:sp>
    </p:spTree>
    <p:extLst>
      <p:ext uri="{BB962C8B-B14F-4D97-AF65-F5344CB8AC3E}">
        <p14:creationId xmlns:p14="http://schemas.microsoft.com/office/powerpoint/2010/main" val="42073631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28EB9-7D22-306A-4B3F-7CFDD3772A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96136" y="881694"/>
            <a:ext cx="2737725" cy="170845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1)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nversion of palm oil  to agroforestry in Tanjung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ndiri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with total area of 10 hectares and involving 7 farmers under the Ministry of Forestry’s  gradual replacement of palm oil   (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angka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nah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scheme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F877DA-18D8-7884-F210-F337DC0580D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99791" y="1080038"/>
            <a:ext cx="2374850" cy="32875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32130EE-B155-4037-8385-681683F5C52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4643" y="2690474"/>
            <a:ext cx="3632364" cy="1677131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6CE5483-0A37-F99C-426B-BE88D52D30D8}"/>
              </a:ext>
            </a:extLst>
          </p:cNvPr>
          <p:cNvSpPr txBox="1">
            <a:spLocks/>
          </p:cNvSpPr>
          <p:nvPr/>
        </p:nvSpPr>
        <p:spPr>
          <a:xfrm>
            <a:off x="5148064" y="1080038"/>
            <a:ext cx="3558943" cy="15085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endParaRPr lang="en-ID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FB2FEC-7F2A-758A-1FFD-80D65673173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9170"/>
            <a:ext cx="2704921" cy="26642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D1E504-5D01-A6A4-E81D-08B0DFC50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3750" y="24444"/>
            <a:ext cx="4258816" cy="857250"/>
          </a:xfrm>
        </p:spPr>
        <p:txBody>
          <a:bodyPr>
            <a:normAutofit fontScale="90000"/>
          </a:bodyPr>
          <a:lstStyle/>
          <a:p>
            <a:pPr algn="l"/>
            <a:r>
              <a:rPr lang="en-US" sz="2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roforestry: Transitioning out of Palm Oil</a:t>
            </a:r>
            <a:endParaRPr lang="en-ID" sz="28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7510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42649</TotalTime>
  <Words>888</Words>
  <Application>Microsoft Office PowerPoint</Application>
  <PresentationFormat>On-screen Show (16:9)</PresentationFormat>
  <Paragraphs>119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</vt:lpstr>
      <vt:lpstr>Calibri</vt:lpstr>
      <vt:lpstr>Myriad Pro</vt:lpstr>
      <vt:lpstr>Poppins</vt:lpstr>
      <vt:lpstr>Poppins Bold</vt:lpstr>
      <vt:lpstr>Wingdings</vt:lpstr>
      <vt:lpstr>Office Theme</vt:lpstr>
      <vt:lpstr>1_Office Theme</vt:lpstr>
      <vt:lpstr>2_Office Theme</vt:lpstr>
      <vt:lpstr>think-cell Slide</vt:lpstr>
      <vt:lpstr>community livelihood development</vt:lpstr>
      <vt:lpstr>Outline</vt:lpstr>
      <vt:lpstr>PowerPoint Presentation</vt:lpstr>
      <vt:lpstr>PowerPoint Presentation</vt:lpstr>
      <vt:lpstr>Community Livelihood Development</vt:lpstr>
      <vt:lpstr>CRMA Update</vt:lpstr>
      <vt:lpstr>Agroforestry</vt:lpstr>
      <vt:lpstr>PowerPoint Presentation</vt:lpstr>
      <vt:lpstr>Agroforestry: Transitioning out of Palm Oil</vt:lpstr>
      <vt:lpstr>Business unit/Cooperative</vt:lpstr>
      <vt:lpstr>PowerPoint Presentation</vt:lpstr>
      <vt:lpstr>PowerPoint Presentation</vt:lpstr>
      <vt:lpstr>Networking with Stakeholders</vt:lpstr>
      <vt:lpstr>Provision of basic  Health and Education Services </vt:lpstr>
      <vt:lpstr>PowerPoint Presentation</vt:lpstr>
    </vt:vector>
  </TitlesOfParts>
  <Company>ho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UDUL PRESENTASI</dc:title>
  <dc:creator>Zelvin NH</dc:creator>
  <cp:lastModifiedBy>Thomas A  Walsh</cp:lastModifiedBy>
  <cp:revision>652</cp:revision>
  <dcterms:created xsi:type="dcterms:W3CDTF">2022-04-19T13:56:15Z</dcterms:created>
  <dcterms:modified xsi:type="dcterms:W3CDTF">2025-10-27T13:23:14Z</dcterms:modified>
</cp:coreProperties>
</file>